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  <p:sldMasterId id="2147483719" r:id="rId5"/>
    <p:sldMasterId id="2147483750" r:id="rId6"/>
  </p:sldMasterIdLst>
  <p:notesMasterIdLst>
    <p:notesMasterId r:id="rId23"/>
  </p:notesMasterIdLst>
  <p:handoutMasterIdLst>
    <p:handoutMasterId r:id="rId24"/>
  </p:handoutMasterIdLst>
  <p:sldIdLst>
    <p:sldId id="256" r:id="rId7"/>
    <p:sldId id="593" r:id="rId8"/>
    <p:sldId id="2145706845" r:id="rId9"/>
    <p:sldId id="449" r:id="rId10"/>
    <p:sldId id="2141412367" r:id="rId11"/>
    <p:sldId id="2141412466" r:id="rId12"/>
    <p:sldId id="2145706844" r:id="rId13"/>
    <p:sldId id="2141412469" r:id="rId14"/>
    <p:sldId id="2134959543" r:id="rId15"/>
    <p:sldId id="289" r:id="rId16"/>
    <p:sldId id="522" r:id="rId17"/>
    <p:sldId id="523" r:id="rId18"/>
    <p:sldId id="521" r:id="rId19"/>
    <p:sldId id="519" r:id="rId20"/>
    <p:sldId id="520" r:id="rId21"/>
    <p:sldId id="518" r:id="rId22"/>
  </p:sldIdLst>
  <p:sldSz cx="12192000" cy="6858000"/>
  <p:notesSz cx="6858000" cy="9144000"/>
  <p:embeddedFontLst>
    <p:embeddedFont>
      <p:font typeface="ＭＳ Ｐゴシック" panose="020B0600070205080204" pitchFamily="34" charset="-128"/>
      <p:regular r:id="rId25"/>
    </p:embeddedFont>
    <p:embeddedFont>
      <p:font typeface="Ivar Display Hydro" panose="020B0604020202020204" charset="0"/>
      <p:regular r:id="rId26"/>
    </p:embeddedFont>
    <p:embeddedFont>
      <p:font typeface="Calibri" panose="020F0502020204030204" pitchFamily="34" charset="0"/>
      <p:regular r:id="rId27"/>
      <p:bold r:id="rId28"/>
      <p:italic r:id="rId29"/>
      <p:boldItalic r:id="rId30"/>
    </p:embeddedFont>
    <p:embeddedFont>
      <p:font typeface="Helvetica" panose="020B0604020202020204" pitchFamily="34" charset="0"/>
      <p:regular r:id="rId31"/>
      <p:bold r:id="rId32"/>
      <p:italic r:id="rId33"/>
      <p:boldItalic r:id="rId34"/>
    </p:embeddedFont>
  </p:embeddedFontLst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men Kjus" initials="SK" lastIdx="2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39F701-5901-48A6-8F46-A3D06235CBFA}" v="18" dt="2021-04-06T17:00:14.5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15" autoAdjust="0"/>
    <p:restoredTop sz="94249" autoAdjust="0"/>
  </p:normalViewPr>
  <p:slideViewPr>
    <p:cSldViewPr snapToGrid="0" showGuides="1">
      <p:cViewPr varScale="1">
        <p:scale>
          <a:sx n="107" d="100"/>
          <a:sy n="107" d="100"/>
        </p:scale>
        <p:origin x="-954" y="-7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597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8814"/>
    </p:cViewPr>
  </p:sorterViewPr>
  <p:notesViewPr>
    <p:cSldViewPr snapToGrid="0" showGuides="1">
      <p:cViewPr varScale="1">
        <p:scale>
          <a:sx n="68" d="100"/>
          <a:sy n="68" d="100"/>
        </p:scale>
        <p:origin x="1719" y="3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font" Target="fonts/font2.fntdata"/><Relationship Id="rId39" Type="http://schemas.openxmlformats.org/officeDocument/2006/relationships/theme" Target="theme/theme1.xml"/><Relationship Id="rId21" Type="http://schemas.openxmlformats.org/officeDocument/2006/relationships/slide" Target="slides/slide15.xml"/><Relationship Id="rId34" Type="http://schemas.openxmlformats.org/officeDocument/2006/relationships/font" Target="fonts/font10.fntdata"/><Relationship Id="rId42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font" Target="fonts/font5.fntdata"/><Relationship Id="rId41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handoutMaster" Target="handoutMasters/handoutMaster1.xml"/><Relationship Id="rId32" Type="http://schemas.openxmlformats.org/officeDocument/2006/relationships/font" Target="fonts/font8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openxmlformats.org/officeDocument/2006/relationships/font" Target="fonts/font4.fntdata"/><Relationship Id="rId36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tags" Target="tags/tag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tin Sagen" userId="c7d4c601-22a3-4e6f-b8af-3b76148340dd" providerId="ADAL" clId="{6239F701-5901-48A6-8F46-A3D06235CBFA}"/>
    <pc:docChg chg="modSld">
      <pc:chgData name="Martin Sagen" userId="c7d4c601-22a3-4e6f-b8af-3b76148340dd" providerId="ADAL" clId="{6239F701-5901-48A6-8F46-A3D06235CBFA}" dt="2021-04-06T17:00:10.134" v="2" actId="20577"/>
      <pc:docMkLst>
        <pc:docMk/>
      </pc:docMkLst>
      <pc:sldChg chg="modNotesTx">
        <pc:chgData name="Martin Sagen" userId="c7d4c601-22a3-4e6f-b8af-3b76148340dd" providerId="ADAL" clId="{6239F701-5901-48A6-8F46-A3D06235CBFA}" dt="2021-04-06T17:00:10.134" v="2" actId="20577"/>
        <pc:sldMkLst>
          <pc:docMk/>
          <pc:sldMk cId="2747402393" sldId="449"/>
        </pc:sldMkLst>
      </pc:sldChg>
    </pc:docChg>
  </pc:docChgLst>
  <pc:docChgLst>
    <pc:chgData name="Martin Sagen" userId="c7d4c601-22a3-4e6f-b8af-3b76148340dd" providerId="ADAL" clId="{38E17030-2D48-4147-B824-24F0EBA50DD2}"/>
    <pc:docChg chg="custSel addSld delSld modSld sldOrd">
      <pc:chgData name="Martin Sagen" userId="c7d4c601-22a3-4e6f-b8af-3b76148340dd" providerId="ADAL" clId="{38E17030-2D48-4147-B824-24F0EBA50DD2}" dt="2021-04-05T15:42:25.947" v="394"/>
      <pc:docMkLst>
        <pc:docMk/>
      </pc:docMkLst>
      <pc:sldChg chg="modSp">
        <pc:chgData name="Martin Sagen" userId="c7d4c601-22a3-4e6f-b8af-3b76148340dd" providerId="ADAL" clId="{38E17030-2D48-4147-B824-24F0EBA50DD2}" dt="2021-04-05T15:22:33.729" v="129" actId="20577"/>
        <pc:sldMkLst>
          <pc:docMk/>
          <pc:sldMk cId="3624933562" sldId="256"/>
        </pc:sldMkLst>
        <pc:spChg chg="mod">
          <ac:chgData name="Martin Sagen" userId="c7d4c601-22a3-4e6f-b8af-3b76148340dd" providerId="ADAL" clId="{38E17030-2D48-4147-B824-24F0EBA50DD2}" dt="2021-04-05T15:22:33.729" v="129" actId="20577"/>
          <ac:spMkLst>
            <pc:docMk/>
            <pc:sldMk cId="3624933562" sldId="256"/>
            <ac:spMk id="3" creationId="{F50FA8D1-4090-42F5-A771-ACCA34B1FC18}"/>
          </ac:spMkLst>
        </pc:spChg>
      </pc:sldChg>
      <pc:sldChg chg="delSp modSp">
        <pc:chgData name="Martin Sagen" userId="c7d4c601-22a3-4e6f-b8af-3b76148340dd" providerId="ADAL" clId="{38E17030-2D48-4147-B824-24F0EBA50DD2}" dt="2021-04-05T15:22:08.041" v="87" actId="478"/>
        <pc:sldMkLst>
          <pc:docMk/>
          <pc:sldMk cId="2747402393" sldId="449"/>
        </pc:sldMkLst>
        <pc:spChg chg="mod">
          <ac:chgData name="Martin Sagen" userId="c7d4c601-22a3-4e6f-b8af-3b76148340dd" providerId="ADAL" clId="{38E17030-2D48-4147-B824-24F0EBA50DD2}" dt="2021-04-05T15:20:59.989" v="86" actId="20577"/>
          <ac:spMkLst>
            <pc:docMk/>
            <pc:sldMk cId="2747402393" sldId="449"/>
            <ac:spMk id="5" creationId="{00000000-0000-0000-0000-000000000000}"/>
          </ac:spMkLst>
        </pc:spChg>
        <pc:spChg chg="del">
          <ac:chgData name="Martin Sagen" userId="c7d4c601-22a3-4e6f-b8af-3b76148340dd" providerId="ADAL" clId="{38E17030-2D48-4147-B824-24F0EBA50DD2}" dt="2021-04-05T15:22:08.041" v="87" actId="478"/>
          <ac:spMkLst>
            <pc:docMk/>
            <pc:sldMk cId="2747402393" sldId="449"/>
            <ac:spMk id="6" creationId="{00000000-0000-0000-0000-000000000000}"/>
          </ac:spMkLst>
        </pc:spChg>
      </pc:sldChg>
      <pc:sldChg chg="ord">
        <pc:chgData name="Martin Sagen" userId="c7d4c601-22a3-4e6f-b8af-3b76148340dd" providerId="ADAL" clId="{38E17030-2D48-4147-B824-24F0EBA50DD2}" dt="2021-04-05T15:42:25.947" v="394"/>
        <pc:sldMkLst>
          <pc:docMk/>
          <pc:sldMk cId="1353331267" sldId="518"/>
        </pc:sldMkLst>
      </pc:sldChg>
      <pc:sldChg chg="ord">
        <pc:chgData name="Martin Sagen" userId="c7d4c601-22a3-4e6f-b8af-3b76148340dd" providerId="ADAL" clId="{38E17030-2D48-4147-B824-24F0EBA50DD2}" dt="2021-04-05T15:42:25.947" v="394"/>
        <pc:sldMkLst>
          <pc:docMk/>
          <pc:sldMk cId="2394696181" sldId="519"/>
        </pc:sldMkLst>
      </pc:sldChg>
      <pc:sldChg chg="ord">
        <pc:chgData name="Martin Sagen" userId="c7d4c601-22a3-4e6f-b8af-3b76148340dd" providerId="ADAL" clId="{38E17030-2D48-4147-B824-24F0EBA50DD2}" dt="2021-04-05T15:42:25.947" v="394"/>
        <pc:sldMkLst>
          <pc:docMk/>
          <pc:sldMk cId="1477425864" sldId="520"/>
        </pc:sldMkLst>
      </pc:sldChg>
      <pc:sldChg chg="ord">
        <pc:chgData name="Martin Sagen" userId="c7d4c601-22a3-4e6f-b8af-3b76148340dd" providerId="ADAL" clId="{38E17030-2D48-4147-B824-24F0EBA50DD2}" dt="2021-04-05T15:42:25.947" v="394"/>
        <pc:sldMkLst>
          <pc:docMk/>
          <pc:sldMk cId="2567351016" sldId="521"/>
        </pc:sldMkLst>
      </pc:sldChg>
      <pc:sldChg chg="ord">
        <pc:chgData name="Martin Sagen" userId="c7d4c601-22a3-4e6f-b8af-3b76148340dd" providerId="ADAL" clId="{38E17030-2D48-4147-B824-24F0EBA50DD2}" dt="2021-04-05T15:42:25.947" v="394"/>
        <pc:sldMkLst>
          <pc:docMk/>
          <pc:sldMk cId="1381572690" sldId="522"/>
        </pc:sldMkLst>
      </pc:sldChg>
      <pc:sldChg chg="ord">
        <pc:chgData name="Martin Sagen" userId="c7d4c601-22a3-4e6f-b8af-3b76148340dd" providerId="ADAL" clId="{38E17030-2D48-4147-B824-24F0EBA50DD2}" dt="2021-04-05T15:42:25.947" v="394"/>
        <pc:sldMkLst>
          <pc:docMk/>
          <pc:sldMk cId="1711342460" sldId="523"/>
        </pc:sldMkLst>
      </pc:sldChg>
      <pc:sldChg chg="modSp">
        <pc:chgData name="Martin Sagen" userId="c7d4c601-22a3-4e6f-b8af-3b76148340dd" providerId="ADAL" clId="{38E17030-2D48-4147-B824-24F0EBA50DD2}" dt="2021-04-05T15:34:39.029" v="184" actId="6549"/>
        <pc:sldMkLst>
          <pc:docMk/>
          <pc:sldMk cId="186167967" sldId="2141412367"/>
        </pc:sldMkLst>
        <pc:spChg chg="mod">
          <ac:chgData name="Martin Sagen" userId="c7d4c601-22a3-4e6f-b8af-3b76148340dd" providerId="ADAL" clId="{38E17030-2D48-4147-B824-24F0EBA50DD2}" dt="2021-04-05T15:34:39.029" v="184" actId="6549"/>
          <ac:spMkLst>
            <pc:docMk/>
            <pc:sldMk cId="186167967" sldId="2141412367"/>
            <ac:spMk id="43" creationId="{0ECA535F-3882-4767-859C-2579FC9D997A}"/>
          </ac:spMkLst>
        </pc:spChg>
      </pc:sldChg>
      <pc:sldChg chg="addSp delSp modSp add">
        <pc:chgData name="Martin Sagen" userId="c7d4c601-22a3-4e6f-b8af-3b76148340dd" providerId="ADAL" clId="{38E17030-2D48-4147-B824-24F0EBA50DD2}" dt="2021-04-05T15:42:16.589" v="393" actId="20577"/>
        <pc:sldMkLst>
          <pc:docMk/>
          <pc:sldMk cId="1796471450" sldId="2145706845"/>
        </pc:sldMkLst>
        <pc:spChg chg="mod">
          <ac:chgData name="Martin Sagen" userId="c7d4c601-22a3-4e6f-b8af-3b76148340dd" providerId="ADAL" clId="{38E17030-2D48-4147-B824-24F0EBA50DD2}" dt="2021-04-05T15:42:16.589" v="393" actId="20577"/>
          <ac:spMkLst>
            <pc:docMk/>
            <pc:sldMk cId="1796471450" sldId="2145706845"/>
            <ac:spMk id="2" creationId="{6E31D382-FABE-4617-966E-E952AD65F26E}"/>
          </ac:spMkLst>
        </pc:spChg>
        <pc:spChg chg="del">
          <ac:chgData name="Martin Sagen" userId="c7d4c601-22a3-4e6f-b8af-3b76148340dd" providerId="ADAL" clId="{38E17030-2D48-4147-B824-24F0EBA50DD2}" dt="2021-04-05T15:38:28.390" v="186" actId="478"/>
          <ac:spMkLst>
            <pc:docMk/>
            <pc:sldMk cId="1796471450" sldId="2145706845"/>
            <ac:spMk id="3" creationId="{FAC33272-0AC0-4F26-9469-8DA558D80BE9}"/>
          </ac:spMkLst>
        </pc:spChg>
        <pc:spChg chg="del">
          <ac:chgData name="Martin Sagen" userId="c7d4c601-22a3-4e6f-b8af-3b76148340dd" providerId="ADAL" clId="{38E17030-2D48-4147-B824-24F0EBA50DD2}" dt="2021-04-05T15:38:31.109" v="187" actId="478"/>
          <ac:spMkLst>
            <pc:docMk/>
            <pc:sldMk cId="1796471450" sldId="2145706845"/>
            <ac:spMk id="5" creationId="{83744DF5-4DBD-4496-AC85-E2C6F2595BCB}"/>
          </ac:spMkLst>
        </pc:spChg>
        <pc:picChg chg="add mod">
          <ac:chgData name="Martin Sagen" userId="c7d4c601-22a3-4e6f-b8af-3b76148340dd" providerId="ADAL" clId="{38E17030-2D48-4147-B824-24F0EBA50DD2}" dt="2021-04-05T15:41:06.206" v="252" actId="1035"/>
          <ac:picMkLst>
            <pc:docMk/>
            <pc:sldMk cId="1796471450" sldId="2145706845"/>
            <ac:picMk id="7" creationId="{F5D028A2-39D8-4516-BEC1-B7EC84582031}"/>
          </ac:picMkLst>
        </pc:picChg>
        <pc:picChg chg="add mod">
          <ac:chgData name="Martin Sagen" userId="c7d4c601-22a3-4e6f-b8af-3b76148340dd" providerId="ADAL" clId="{38E17030-2D48-4147-B824-24F0EBA50DD2}" dt="2021-04-05T15:41:10.487" v="262" actId="1035"/>
          <ac:picMkLst>
            <pc:docMk/>
            <pc:sldMk cId="1796471450" sldId="2145706845"/>
            <ac:picMk id="8" creationId="{F568F12B-5FD1-4151-A6F9-BA1EA1D54008}"/>
          </ac:picMkLst>
        </pc:picChg>
        <pc:picChg chg="add mod">
          <ac:chgData name="Martin Sagen" userId="c7d4c601-22a3-4e6f-b8af-3b76148340dd" providerId="ADAL" clId="{38E17030-2D48-4147-B824-24F0EBA50DD2}" dt="2021-04-05T15:41:13.877" v="270" actId="1035"/>
          <ac:picMkLst>
            <pc:docMk/>
            <pc:sldMk cId="1796471450" sldId="2145706845"/>
            <ac:picMk id="9" creationId="{BC246395-5EF6-49AF-A9F4-E12B3C153A4F}"/>
          </ac:picMkLst>
        </pc:picChg>
        <pc:picChg chg="add mod">
          <ac:chgData name="Martin Sagen" userId="c7d4c601-22a3-4e6f-b8af-3b76148340dd" providerId="ADAL" clId="{38E17030-2D48-4147-B824-24F0EBA50DD2}" dt="2021-04-05T15:41:18.922" v="283" actId="1035"/>
          <ac:picMkLst>
            <pc:docMk/>
            <pc:sldMk cId="1796471450" sldId="2145706845"/>
            <ac:picMk id="10" creationId="{4F49BE79-2CFE-440A-BFF7-32B93C7EA877}"/>
          </ac:picMkLst>
        </pc:picChg>
        <pc:picChg chg="add mod">
          <ac:chgData name="Martin Sagen" userId="c7d4c601-22a3-4e6f-b8af-3b76148340dd" providerId="ADAL" clId="{38E17030-2D48-4147-B824-24F0EBA50DD2}" dt="2021-04-05T15:41:23.185" v="294" actId="1035"/>
          <ac:picMkLst>
            <pc:docMk/>
            <pc:sldMk cId="1796471450" sldId="2145706845"/>
            <ac:picMk id="11" creationId="{7B04FE59-985E-49CB-A4F8-5CFD3F416D2A}"/>
          </ac:picMkLst>
        </pc:picChg>
        <pc:picChg chg="add mod">
          <ac:chgData name="Martin Sagen" userId="c7d4c601-22a3-4e6f-b8af-3b76148340dd" providerId="ADAL" clId="{38E17030-2D48-4147-B824-24F0EBA50DD2}" dt="2021-04-05T15:41:27.435" v="307" actId="1035"/>
          <ac:picMkLst>
            <pc:docMk/>
            <pc:sldMk cId="1796471450" sldId="2145706845"/>
            <ac:picMk id="12" creationId="{2A05FCE6-CED5-4391-8347-0381B97CD923}"/>
          </ac:picMkLst>
        </pc:picChg>
      </pc:sldChg>
      <pc:sldChg chg="del">
        <pc:chgData name="Martin Sagen" userId="c7d4c601-22a3-4e6f-b8af-3b76148340dd" providerId="ADAL" clId="{38E17030-2D48-4147-B824-24F0EBA50DD2}" dt="2021-04-05T15:19:45.562" v="0" actId="2696"/>
        <pc:sldMkLst>
          <pc:docMk/>
          <pc:sldMk cId="4203845630" sldId="214570684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51B4081E-6795-4134-A9D1-8DC866DE117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50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8C17F0DE-A68B-4D17-9006-56B9B9EE78E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6106FB-50AE-4D93-8BB4-463506DBFF1C}" type="datetimeFigureOut">
              <a:rPr lang="en-US" sz="1050" smtClean="0"/>
              <a:t>4/12/2021</a:t>
            </a:fld>
            <a:endParaRPr lang="en-US" sz="105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B6F9133-BFE6-407A-A39A-7C2327B7DD3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5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DC68477-1EC6-4426-BC0F-A493B5666CD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98EAB-46DA-4F1B-8A55-F4433B369497}" type="slidenum">
              <a:rPr lang="en-US" sz="1050" smtClean="0"/>
              <a:t>‹#›</a:t>
            </a:fld>
            <a:endParaRPr lang="en-US" sz="1050"/>
          </a:p>
        </p:txBody>
      </p:sp>
    </p:spTree>
    <p:extLst>
      <p:ext uri="{BB962C8B-B14F-4D97-AF65-F5344CB8AC3E}">
        <p14:creationId xmlns:p14="http://schemas.microsoft.com/office/powerpoint/2010/main" val="29933910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+mn-lt"/>
                <a:cs typeface="Arial" panose="020B0604020202020204" pitchFamily="34" charset="0"/>
              </a:defRPr>
            </a:lvl1pPr>
          </a:lstStyle>
          <a:p>
            <a:endParaRPr lang="en-GB" dirty="0"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+mn-lt"/>
                <a:cs typeface="Arial" panose="020B0604020202020204" pitchFamily="34" charset="0"/>
              </a:defRPr>
            </a:lvl1pPr>
          </a:lstStyle>
          <a:p>
            <a:fld id="{1515A40E-B039-4E76-8EAF-79750DB630E7}" type="datetimeFigureOut">
              <a:rPr lang="en-GB" smtClean="0"/>
              <a:pPr/>
              <a:t>12/04/2021</a:t>
            </a:fld>
            <a:endParaRPr lang="en-GB">
              <a:latin typeface="+mn-lt"/>
            </a:endParaRP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+mn-lt"/>
                <a:cs typeface="Arial" panose="020B0604020202020204" pitchFamily="34" charset="0"/>
              </a:defRPr>
            </a:lvl1pPr>
          </a:lstStyle>
          <a:p>
            <a:endParaRPr lang="en-GB">
              <a:latin typeface="+mn-lt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+mn-lt"/>
                <a:cs typeface="Arial" panose="020B0604020202020204" pitchFamily="34" charset="0"/>
              </a:defRPr>
            </a:lvl1pPr>
          </a:lstStyle>
          <a:p>
            <a:fld id="{487ACD42-2C31-408B-B6FE-BEE62DC3EF50}" type="slidenum">
              <a:rPr lang="en-GB" smtClean="0"/>
              <a:pPr/>
              <a:t>‹#›</a:t>
            </a:fld>
            <a:endParaRPr lang="en-GB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18027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/>
              <a:t>SPEAKER NOTES IN SEPARATE DOCU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7ACD42-2C31-408B-B6FE-BEE62DC3EF5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615010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C7F85C-7FD2-438A-969C-11E9DBFE6ECB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1740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C7F85C-7FD2-438A-969C-11E9DBFE6ECB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447977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C7F85C-7FD2-438A-969C-11E9DBFE6ECB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91813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C7F85C-7FD2-438A-969C-11E9DBFE6ECB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80080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C7F85C-7FD2-438A-969C-11E9DBFE6ECB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60124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37180" y="5676431"/>
            <a:ext cx="5097429" cy="550209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7ACD42-2C31-408B-B6FE-BEE62DC3EF5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Image Placeholder 6">
            <a:extLst>
              <a:ext uri="{FF2B5EF4-FFF2-40B4-BE49-F238E27FC236}">
                <a16:creationId xmlns:a16="http://schemas.microsoft.com/office/drawing/2014/main" xmlns="" id="{57C483F7-DB22-424F-AE32-E46BA5D7213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-646113" y="879475"/>
            <a:ext cx="7662863" cy="4311650"/>
          </a:xfrm>
        </p:spPr>
      </p:sp>
    </p:spTree>
    <p:extLst>
      <p:ext uri="{BB962C8B-B14F-4D97-AF65-F5344CB8AC3E}">
        <p14:creationId xmlns:p14="http://schemas.microsoft.com/office/powerpoint/2010/main" val="36370598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7ACD42-2C31-408B-B6FE-BEE62DC3EF5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75375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b="1"/>
              <a:t>SPEAKER NOTES IN SEPARATE DOCUMENT</a:t>
            </a:r>
          </a:p>
          <a:p>
            <a:endParaRPr lang="en-US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7ACD42-2C31-408B-B6FE-BEE62DC3EF50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79089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01650" y="1016000"/>
            <a:ext cx="7372350" cy="4146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37180" y="5451918"/>
            <a:ext cx="5097429" cy="5664044"/>
          </a:xfrm>
        </p:spPr>
        <p:txBody>
          <a:bodyPr/>
          <a:lstStyle/>
          <a:p>
            <a:r>
              <a:rPr lang="nb-NO" b="1"/>
              <a:t>SPEAKER NOTES IN SEPARATE DOCU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7ACD42-2C31-408B-B6FE-BEE62DC3EF50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90733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6074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C7F85C-7FD2-438A-969C-11E9DBFE6ECB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77925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C7F85C-7FD2-438A-969C-11E9DBFE6ECB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1596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 Aluminiu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0456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1359197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30" y="1557340"/>
            <a:ext cx="5184775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311920" y="1557340"/>
            <a:ext cx="5186361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7" y="6381367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67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31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6021391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56" indent="0">
              <a:buNone/>
              <a:defRPr sz="600"/>
            </a:lvl2pPr>
            <a:lvl3pPr marL="271436" indent="0">
              <a:buNone/>
              <a:defRPr sz="600"/>
            </a:lvl3pPr>
            <a:lvl4pPr marL="1028598" indent="0">
              <a:buNone/>
              <a:defRPr sz="600"/>
            </a:lvl4pPr>
            <a:lvl5pPr marL="1371464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139723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pos="4939">
          <p15:clr>
            <a:srgbClr val="FBAE40"/>
          </p15:clr>
        </p15:guide>
        <p15:guide id="2" pos="5301">
          <p15:clr>
            <a:srgbClr val="FBAE40"/>
          </p15:clr>
        </p15:guide>
        <p15:guide id="3" orient="horz" pos="5057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30" y="1557340"/>
            <a:ext cx="5184775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311920" y="1557340"/>
            <a:ext cx="5186361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7" y="6381367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67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31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6021391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56" indent="0">
              <a:buNone/>
              <a:defRPr sz="600"/>
            </a:lvl2pPr>
            <a:lvl3pPr marL="271436" indent="0">
              <a:buNone/>
              <a:defRPr sz="600"/>
            </a:lvl3pPr>
            <a:lvl4pPr marL="1028598" indent="0">
              <a:buNone/>
              <a:defRPr sz="600"/>
            </a:lvl4pPr>
            <a:lvl5pPr marL="1371464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78573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pos="4939">
          <p15:clr>
            <a:srgbClr val="FBAE40"/>
          </p15:clr>
        </p15:guide>
        <p15:guide id="2" pos="5301">
          <p15:clr>
            <a:srgbClr val="FBAE40"/>
          </p15:clr>
        </p15:guide>
        <p15:guide id="3" orient="horz" pos="5057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30" y="1557340"/>
            <a:ext cx="5184775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311920" y="1557340"/>
            <a:ext cx="5186361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7" y="6381367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67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31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6021391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56" indent="0">
              <a:buNone/>
              <a:defRPr sz="600"/>
            </a:lvl2pPr>
            <a:lvl3pPr marL="271436" indent="0">
              <a:buNone/>
              <a:defRPr sz="600"/>
            </a:lvl3pPr>
            <a:lvl4pPr marL="1028598" indent="0">
              <a:buNone/>
              <a:defRPr sz="600"/>
            </a:lvl4pPr>
            <a:lvl5pPr marL="1371464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331238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pos="4939">
          <p15:clr>
            <a:srgbClr val="FBAE40"/>
          </p15:clr>
        </p15:guide>
        <p15:guide id="2" pos="5301">
          <p15:clr>
            <a:srgbClr val="FBAE40"/>
          </p15:clr>
        </p15:guide>
        <p15:guide id="3" orient="horz" pos="505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854093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71560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0910383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8206171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0870015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1625036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de-DE" noProof="0"/>
              <a:t>Mastertitelformat bearbeiten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5059916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C93C7F9E-972C-48C9-9FE1-5AE34014CE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089025"/>
            <a:ext cx="9200035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918922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38"/>
            <a:ext cx="5364163" cy="417671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089025"/>
            <a:ext cx="9200035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xmlns="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176160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 userDrawn="1">
          <p15:clr>
            <a:srgbClr val="FBAE40"/>
          </p15:clr>
        </p15:guide>
        <p15:guide id="2" pos="3999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ecycl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741998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5" y="1989138"/>
            <a:ext cx="3384550" cy="417671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089025"/>
            <a:ext cx="9200035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xmlns="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xmlns="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3" y="1989138"/>
            <a:ext cx="3421062" cy="417671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190649254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57" userDrawn="1">
          <p15:clr>
            <a:srgbClr val="FBAE40"/>
          </p15:clr>
        </p15:guide>
        <p15:guide id="2" pos="2774" userDrawn="1">
          <p15:clr>
            <a:srgbClr val="FBAE40"/>
          </p15:clr>
        </p15:guide>
        <p15:guide id="3" pos="4906" userDrawn="1">
          <p15:clr>
            <a:srgbClr val="FBAE40"/>
          </p15:clr>
        </p15:guide>
        <p15:guide id="4" pos="522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089025"/>
            <a:ext cx="5364162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xmlns="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6D1F457A-D69F-4FCF-A93E-DB5899070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4"/>
            <a:ext cx="5364163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005314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9" userDrawn="1">
          <p15:clr>
            <a:srgbClr val="FBAE40"/>
          </p15:clr>
        </p15:guide>
        <p15:guide id="2" pos="3681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1" y="1989138"/>
            <a:ext cx="5364163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8413" y="1089025"/>
            <a:ext cx="5364162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xmlns="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6165850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F9F1225-AC2F-4F41-BEE6-AE5CF687AC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3" y="441324"/>
            <a:ext cx="5364162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63121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1089025"/>
            <a:ext cx="5364162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xmlns="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xmlns="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F9526B21-30AC-4796-A9DE-E13AE49D9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4"/>
            <a:ext cx="5364163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419543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 userDrawn="1">
          <p15:clr>
            <a:srgbClr val="FBAE40"/>
          </p15:clr>
        </p15:guide>
        <p15:guide id="2" pos="3999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48415" y="1089025"/>
            <a:ext cx="5364162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xmlns="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xmlns="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4" y="6165850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F5CFAD62-D95C-4A9F-A171-64F7B6F105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3" y="441324"/>
            <a:ext cx="5364162" cy="576000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7754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8CF44C50-B85B-4B46-BE46-2E5252CBA0E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089025"/>
            <a:ext cx="9200035" cy="468000"/>
          </a:xfrm>
        </p:spPr>
        <p:txBody>
          <a:bodyPr/>
          <a:lstStyle>
            <a:lvl1pPr marL="0" indent="0">
              <a:buNone/>
              <a:defRPr sz="18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722881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xmlns="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5652557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5632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047108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178240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aw materi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18742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xmlns="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5422468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default - with tag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">
            <a:extLst>
              <a:ext uri="{FF2B5EF4-FFF2-40B4-BE49-F238E27FC236}">
                <a16:creationId xmlns:a16="http://schemas.microsoft.com/office/drawing/2014/main" xmlns="" id="{CCAB14FA-48D7-4E08-8DBC-8BADE76A5197}"/>
              </a:ext>
            </a:extLst>
          </p:cNvPr>
          <p:cNvGrpSpPr/>
          <p:nvPr/>
        </p:nvGrpSpPr>
        <p:grpSpPr>
          <a:xfrm>
            <a:off x="4963463" y="1931307"/>
            <a:ext cx="2265073" cy="2542514"/>
            <a:chOff x="4963463" y="1931307"/>
            <a:chExt cx="2265073" cy="254251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140C728F-4903-4046-9527-30BED6B2C0CC}"/>
                </a:ext>
              </a:extLst>
            </p:cNvPr>
            <p:cNvSpPr/>
            <p:nvPr/>
          </p:nvSpPr>
          <p:spPr>
            <a:xfrm>
              <a:off x="5156911" y="3153598"/>
              <a:ext cx="410663" cy="525526"/>
            </a:xfrm>
            <a:custGeom>
              <a:avLst/>
              <a:gdLst>
                <a:gd name="connsiteX0" fmla="*/ 93083 w 410663"/>
                <a:gd name="connsiteY0" fmla="*/ 296081 h 525526"/>
                <a:gd name="connsiteX1" fmla="*/ 93083 w 410663"/>
                <a:gd name="connsiteY1" fmla="*/ 525399 h 525526"/>
                <a:gd name="connsiteX2" fmla="*/ -216 w 410663"/>
                <a:gd name="connsiteY2" fmla="*/ 525399 h 525526"/>
                <a:gd name="connsiteX3" fmla="*/ -216 w 410663"/>
                <a:gd name="connsiteY3" fmla="*/ -128 h 525526"/>
                <a:gd name="connsiteX4" fmla="*/ 93083 w 410663"/>
                <a:gd name="connsiteY4" fmla="*/ -128 h 525526"/>
                <a:gd name="connsiteX5" fmla="*/ 93083 w 410663"/>
                <a:gd name="connsiteY5" fmla="*/ 213775 h 525526"/>
                <a:gd name="connsiteX6" fmla="*/ 317154 w 410663"/>
                <a:gd name="connsiteY6" fmla="*/ 213775 h 525526"/>
                <a:gd name="connsiteX7" fmla="*/ 317154 w 410663"/>
                <a:gd name="connsiteY7" fmla="*/ -128 h 525526"/>
                <a:gd name="connsiteX8" fmla="*/ 410448 w 410663"/>
                <a:gd name="connsiteY8" fmla="*/ -128 h 525526"/>
                <a:gd name="connsiteX9" fmla="*/ 410448 w 410663"/>
                <a:gd name="connsiteY9" fmla="*/ 525399 h 525526"/>
                <a:gd name="connsiteX10" fmla="*/ 317154 w 410663"/>
                <a:gd name="connsiteY10" fmla="*/ 525399 h 525526"/>
                <a:gd name="connsiteX11" fmla="*/ 317154 w 410663"/>
                <a:gd name="connsiteY11" fmla="*/ 296081 h 52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0663" h="525526">
                  <a:moveTo>
                    <a:pt x="93083" y="296081"/>
                  </a:moveTo>
                  <a:lnTo>
                    <a:pt x="93083" y="525399"/>
                  </a:lnTo>
                  <a:lnTo>
                    <a:pt x="-216" y="525399"/>
                  </a:lnTo>
                  <a:lnTo>
                    <a:pt x="-216" y="-128"/>
                  </a:lnTo>
                  <a:lnTo>
                    <a:pt x="93083" y="-128"/>
                  </a:lnTo>
                  <a:lnTo>
                    <a:pt x="93083" y="213775"/>
                  </a:lnTo>
                  <a:lnTo>
                    <a:pt x="317154" y="213775"/>
                  </a:lnTo>
                  <a:lnTo>
                    <a:pt x="317154" y="-128"/>
                  </a:lnTo>
                  <a:lnTo>
                    <a:pt x="410448" y="-128"/>
                  </a:lnTo>
                  <a:lnTo>
                    <a:pt x="410448" y="525399"/>
                  </a:lnTo>
                  <a:lnTo>
                    <a:pt x="317154" y="525399"/>
                  </a:lnTo>
                  <a:lnTo>
                    <a:pt x="317154" y="296081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8C0CCC6D-D04C-411F-B43C-747EF28D416E}"/>
                </a:ext>
              </a:extLst>
            </p:cNvPr>
            <p:cNvSpPr/>
            <p:nvPr/>
          </p:nvSpPr>
          <p:spPr>
            <a:xfrm>
              <a:off x="5602821" y="3293248"/>
              <a:ext cx="382758" cy="518180"/>
            </a:xfrm>
            <a:custGeom>
              <a:avLst/>
              <a:gdLst>
                <a:gd name="connsiteX0" fmla="*/ 85028 w 382758"/>
                <a:gd name="connsiteY0" fmla="*/ 518053 h 518180"/>
                <a:gd name="connsiteX1" fmla="*/ 145246 w 382758"/>
                <a:gd name="connsiteY1" fmla="*/ 375451 h 518180"/>
                <a:gd name="connsiteX2" fmla="*/ -216 w 382758"/>
                <a:gd name="connsiteY2" fmla="*/ -128 h 518180"/>
                <a:gd name="connsiteX3" fmla="*/ 98232 w 382758"/>
                <a:gd name="connsiteY3" fmla="*/ -128 h 518180"/>
                <a:gd name="connsiteX4" fmla="*/ 192266 w 382758"/>
                <a:gd name="connsiteY4" fmla="*/ 275498 h 518180"/>
                <a:gd name="connsiteX5" fmla="*/ 286305 w 382758"/>
                <a:gd name="connsiteY5" fmla="*/ -128 h 518180"/>
                <a:gd name="connsiteX6" fmla="*/ 382543 w 382758"/>
                <a:gd name="connsiteY6" fmla="*/ -128 h 518180"/>
                <a:gd name="connsiteX7" fmla="*/ 176106 w 382758"/>
                <a:gd name="connsiteY7" fmla="*/ 518048 h 51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2758" h="518180">
                  <a:moveTo>
                    <a:pt x="85028" y="518053"/>
                  </a:moveTo>
                  <a:lnTo>
                    <a:pt x="145246" y="375451"/>
                  </a:lnTo>
                  <a:cubicBezTo>
                    <a:pt x="101166" y="258590"/>
                    <a:pt x="47539" y="121145"/>
                    <a:pt x="-216" y="-128"/>
                  </a:cubicBezTo>
                  <a:lnTo>
                    <a:pt x="98232" y="-128"/>
                  </a:lnTo>
                  <a:cubicBezTo>
                    <a:pt x="140843" y="122615"/>
                    <a:pt x="165079" y="199791"/>
                    <a:pt x="192266" y="275498"/>
                  </a:cubicBezTo>
                  <a:cubicBezTo>
                    <a:pt x="215778" y="211548"/>
                    <a:pt x="254693" y="91010"/>
                    <a:pt x="286305" y="-128"/>
                  </a:cubicBezTo>
                  <a:lnTo>
                    <a:pt x="382543" y="-128"/>
                  </a:lnTo>
                  <a:cubicBezTo>
                    <a:pt x="314955" y="170392"/>
                    <a:pt x="248103" y="341647"/>
                    <a:pt x="176106" y="518048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60B0DC9D-4D36-47B5-97D7-A352B8A299DC}"/>
                </a:ext>
              </a:extLst>
            </p:cNvPr>
            <p:cNvSpPr/>
            <p:nvPr/>
          </p:nvSpPr>
          <p:spPr>
            <a:xfrm>
              <a:off x="5975309" y="3153598"/>
              <a:ext cx="395238" cy="534347"/>
            </a:xfrm>
            <a:custGeom>
              <a:avLst/>
              <a:gdLst>
                <a:gd name="connsiteX0" fmla="*/ 310536 w 395238"/>
                <a:gd name="connsiteY0" fmla="*/ 525399 h 534347"/>
                <a:gd name="connsiteX1" fmla="*/ 310536 w 395238"/>
                <a:gd name="connsiteY1" fmla="*/ 471011 h 534347"/>
                <a:gd name="connsiteX2" fmla="*/ 177570 w 395238"/>
                <a:gd name="connsiteY2" fmla="*/ 534220 h 534347"/>
                <a:gd name="connsiteX3" fmla="*/ -216 w 395238"/>
                <a:gd name="connsiteY3" fmla="*/ 331372 h 534347"/>
                <a:gd name="connsiteX4" fmla="*/ 179769 w 395238"/>
                <a:gd name="connsiteY4" fmla="*/ 127042 h 534347"/>
                <a:gd name="connsiteX5" fmla="*/ 306133 w 395238"/>
                <a:gd name="connsiteY5" fmla="*/ 188781 h 534347"/>
                <a:gd name="connsiteX6" fmla="*/ 305398 w 395238"/>
                <a:gd name="connsiteY6" fmla="*/ 112346 h 534347"/>
                <a:gd name="connsiteX7" fmla="*/ 305398 w 395238"/>
                <a:gd name="connsiteY7" fmla="*/ -128 h 534347"/>
                <a:gd name="connsiteX8" fmla="*/ 395023 w 395238"/>
                <a:gd name="connsiteY8" fmla="*/ -128 h 534347"/>
                <a:gd name="connsiteX9" fmla="*/ 395023 w 395238"/>
                <a:gd name="connsiteY9" fmla="*/ 525399 h 534347"/>
                <a:gd name="connsiteX10" fmla="*/ 91614 w 395238"/>
                <a:gd name="connsiteY10" fmla="*/ 332831 h 534347"/>
                <a:gd name="connsiteX11" fmla="*/ 198138 w 395238"/>
                <a:gd name="connsiteY11" fmla="*/ 461455 h 534347"/>
                <a:gd name="connsiteX12" fmla="*/ 309801 w 395238"/>
                <a:gd name="connsiteY12" fmla="*/ 329907 h 534347"/>
                <a:gd name="connsiteX13" fmla="*/ 198873 w 395238"/>
                <a:gd name="connsiteY13" fmla="*/ 201284 h 534347"/>
                <a:gd name="connsiteX14" fmla="*/ 91614 w 395238"/>
                <a:gd name="connsiteY14" fmla="*/ 332831 h 53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238" h="534347">
                  <a:moveTo>
                    <a:pt x="310536" y="525399"/>
                  </a:moveTo>
                  <a:lnTo>
                    <a:pt x="310536" y="471011"/>
                  </a:lnTo>
                  <a:cubicBezTo>
                    <a:pt x="288498" y="504821"/>
                    <a:pt x="243688" y="534220"/>
                    <a:pt x="177570" y="534220"/>
                  </a:cubicBezTo>
                  <a:cubicBezTo>
                    <a:pt x="72510" y="534220"/>
                    <a:pt x="-216" y="451904"/>
                    <a:pt x="-216" y="331372"/>
                  </a:cubicBezTo>
                  <a:cubicBezTo>
                    <a:pt x="-216" y="214510"/>
                    <a:pt x="69576" y="127042"/>
                    <a:pt x="179769" y="127042"/>
                  </a:cubicBezTo>
                  <a:cubicBezTo>
                    <a:pt x="240744" y="127042"/>
                    <a:pt x="284830" y="157177"/>
                    <a:pt x="306133" y="188781"/>
                  </a:cubicBezTo>
                  <a:cubicBezTo>
                    <a:pt x="305398" y="161587"/>
                    <a:pt x="305398" y="138804"/>
                    <a:pt x="305398" y="112346"/>
                  </a:cubicBezTo>
                  <a:lnTo>
                    <a:pt x="305398" y="-128"/>
                  </a:lnTo>
                  <a:lnTo>
                    <a:pt x="395023" y="-128"/>
                  </a:lnTo>
                  <a:lnTo>
                    <a:pt x="395023" y="525399"/>
                  </a:lnTo>
                  <a:close/>
                  <a:moveTo>
                    <a:pt x="91614" y="332831"/>
                  </a:moveTo>
                  <a:cubicBezTo>
                    <a:pt x="91614" y="406343"/>
                    <a:pt x="131286" y="461455"/>
                    <a:pt x="198138" y="461455"/>
                  </a:cubicBezTo>
                  <a:cubicBezTo>
                    <a:pt x="267930" y="461455"/>
                    <a:pt x="309801" y="405597"/>
                    <a:pt x="309801" y="329907"/>
                  </a:cubicBezTo>
                  <a:cubicBezTo>
                    <a:pt x="309801" y="255671"/>
                    <a:pt x="263522" y="201284"/>
                    <a:pt x="198873" y="201284"/>
                  </a:cubicBezTo>
                  <a:cubicBezTo>
                    <a:pt x="131286" y="201267"/>
                    <a:pt x="91614" y="259330"/>
                    <a:pt x="91614" y="33283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26B931DA-7BAE-45DC-B05B-DE9F1CAC313B}"/>
                </a:ext>
              </a:extLst>
            </p:cNvPr>
            <p:cNvSpPr/>
            <p:nvPr/>
          </p:nvSpPr>
          <p:spPr>
            <a:xfrm>
              <a:off x="6427854" y="3283695"/>
              <a:ext cx="198354" cy="395429"/>
            </a:xfrm>
            <a:custGeom>
              <a:avLst/>
              <a:gdLst>
                <a:gd name="connsiteX0" fmla="*/ 84266 w 198354"/>
                <a:gd name="connsiteY0" fmla="*/ 8696 h 395429"/>
                <a:gd name="connsiteX1" fmla="*/ 84266 w 198354"/>
                <a:gd name="connsiteY1" fmla="*/ 35155 h 395429"/>
                <a:gd name="connsiteX2" fmla="*/ 83537 w 198354"/>
                <a:gd name="connsiteY2" fmla="*/ 60878 h 395429"/>
                <a:gd name="connsiteX3" fmla="*/ 176835 w 198354"/>
                <a:gd name="connsiteY3" fmla="*/ -125 h 395429"/>
                <a:gd name="connsiteX4" fmla="*/ 198138 w 198354"/>
                <a:gd name="connsiteY4" fmla="*/ 1345 h 395429"/>
                <a:gd name="connsiteX5" fmla="*/ 198138 w 198354"/>
                <a:gd name="connsiteY5" fmla="*/ 86607 h 395429"/>
                <a:gd name="connsiteX6" fmla="*/ 172427 w 198354"/>
                <a:gd name="connsiteY6" fmla="*/ 83667 h 395429"/>
                <a:gd name="connsiteX7" fmla="*/ 90144 w 198354"/>
                <a:gd name="connsiteY7" fmla="*/ 213004 h 395429"/>
                <a:gd name="connsiteX8" fmla="*/ 90144 w 198354"/>
                <a:gd name="connsiteY8" fmla="*/ 395302 h 395429"/>
                <a:gd name="connsiteX9" fmla="*/ 519 w 198354"/>
                <a:gd name="connsiteY9" fmla="*/ 395302 h 395429"/>
                <a:gd name="connsiteX10" fmla="*/ 519 w 198354"/>
                <a:gd name="connsiteY10" fmla="*/ 78521 h 395429"/>
                <a:gd name="connsiteX11" fmla="*/ -216 w 198354"/>
                <a:gd name="connsiteY11" fmla="*/ 8696 h 39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354" h="395429">
                  <a:moveTo>
                    <a:pt x="84266" y="8696"/>
                  </a:moveTo>
                  <a:lnTo>
                    <a:pt x="84266" y="35155"/>
                  </a:lnTo>
                  <a:cubicBezTo>
                    <a:pt x="84266" y="43998"/>
                    <a:pt x="84266" y="52792"/>
                    <a:pt x="83537" y="60878"/>
                  </a:cubicBezTo>
                  <a:cubicBezTo>
                    <a:pt x="96757" y="21928"/>
                    <a:pt x="132755" y="-125"/>
                    <a:pt x="176835" y="-125"/>
                  </a:cubicBezTo>
                  <a:cubicBezTo>
                    <a:pt x="183962" y="-164"/>
                    <a:pt x="191083" y="328"/>
                    <a:pt x="198138" y="1345"/>
                  </a:cubicBezTo>
                  <a:lnTo>
                    <a:pt x="198138" y="86607"/>
                  </a:lnTo>
                  <a:cubicBezTo>
                    <a:pt x="189752" y="84413"/>
                    <a:pt x="181095" y="83424"/>
                    <a:pt x="172427" y="83667"/>
                  </a:cubicBezTo>
                  <a:cubicBezTo>
                    <a:pt x="102635" y="83667"/>
                    <a:pt x="90144" y="133644"/>
                    <a:pt x="90144" y="213004"/>
                  </a:cubicBezTo>
                  <a:lnTo>
                    <a:pt x="90144" y="395302"/>
                  </a:lnTo>
                  <a:lnTo>
                    <a:pt x="519" y="395302"/>
                  </a:lnTo>
                  <a:lnTo>
                    <a:pt x="519" y="78521"/>
                  </a:lnTo>
                  <a:cubicBezTo>
                    <a:pt x="519" y="54268"/>
                    <a:pt x="519" y="32214"/>
                    <a:pt x="-216" y="8696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F148E3E3-DFB6-45BB-B2F2-14942DCABDD3}"/>
                </a:ext>
              </a:extLst>
            </p:cNvPr>
            <p:cNvSpPr/>
            <p:nvPr/>
          </p:nvSpPr>
          <p:spPr>
            <a:xfrm>
              <a:off x="6632816" y="3280022"/>
              <a:ext cx="403321" cy="410864"/>
            </a:xfrm>
            <a:custGeom>
              <a:avLst/>
              <a:gdLst>
                <a:gd name="connsiteX0" fmla="*/ 403105 w 403321"/>
                <a:gd name="connsiteY0" fmla="*/ 206408 h 410864"/>
                <a:gd name="connsiteX1" fmla="*/ 199608 w 403321"/>
                <a:gd name="connsiteY1" fmla="*/ 410737 h 410864"/>
                <a:gd name="connsiteX2" fmla="*/ -216 w 403321"/>
                <a:gd name="connsiteY2" fmla="*/ 206408 h 410864"/>
                <a:gd name="connsiteX3" fmla="*/ 201078 w 403321"/>
                <a:gd name="connsiteY3" fmla="*/ -128 h 410864"/>
                <a:gd name="connsiteX4" fmla="*/ 403105 w 403321"/>
                <a:gd name="connsiteY4" fmla="*/ 206408 h 410864"/>
                <a:gd name="connsiteX5" fmla="*/ 91614 w 403321"/>
                <a:gd name="connsiteY5" fmla="*/ 205672 h 410864"/>
                <a:gd name="connsiteX6" fmla="*/ 199608 w 403321"/>
                <a:gd name="connsiteY6" fmla="*/ 335766 h 410864"/>
                <a:gd name="connsiteX7" fmla="*/ 308332 w 403321"/>
                <a:gd name="connsiteY7" fmla="*/ 205672 h 410864"/>
                <a:gd name="connsiteX8" fmla="*/ 199608 w 403321"/>
                <a:gd name="connsiteY8" fmla="*/ 74843 h 410864"/>
                <a:gd name="connsiteX9" fmla="*/ 91614 w 403321"/>
                <a:gd name="connsiteY9" fmla="*/ 205672 h 410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321" h="410864">
                  <a:moveTo>
                    <a:pt x="403105" y="206408"/>
                  </a:moveTo>
                  <a:cubicBezTo>
                    <a:pt x="403105" y="325480"/>
                    <a:pt x="324496" y="410737"/>
                    <a:pt x="199608" y="410737"/>
                  </a:cubicBezTo>
                  <a:cubicBezTo>
                    <a:pt x="75449" y="410737"/>
                    <a:pt x="-216" y="324745"/>
                    <a:pt x="-216" y="206408"/>
                  </a:cubicBezTo>
                  <a:cubicBezTo>
                    <a:pt x="-216" y="85135"/>
                    <a:pt x="79857" y="-128"/>
                    <a:pt x="201078" y="-128"/>
                  </a:cubicBezTo>
                  <a:cubicBezTo>
                    <a:pt x="323027" y="-128"/>
                    <a:pt x="403105" y="85141"/>
                    <a:pt x="403105" y="206408"/>
                  </a:cubicBezTo>
                  <a:close/>
                  <a:moveTo>
                    <a:pt x="91614" y="205672"/>
                  </a:moveTo>
                  <a:cubicBezTo>
                    <a:pt x="91614" y="284313"/>
                    <a:pt x="132020" y="335766"/>
                    <a:pt x="199608" y="335766"/>
                  </a:cubicBezTo>
                  <a:cubicBezTo>
                    <a:pt x="267930" y="335766"/>
                    <a:pt x="308332" y="284313"/>
                    <a:pt x="308332" y="205672"/>
                  </a:cubicBezTo>
                  <a:cubicBezTo>
                    <a:pt x="308332" y="129231"/>
                    <a:pt x="267195" y="74843"/>
                    <a:pt x="199608" y="74843"/>
                  </a:cubicBezTo>
                  <a:cubicBezTo>
                    <a:pt x="132749" y="74843"/>
                    <a:pt x="91614" y="129231"/>
                    <a:pt x="91614" y="20567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B8188C7D-62E7-407D-A900-9B8900C05D21}"/>
                </a:ext>
              </a:extLst>
            </p:cNvPr>
            <p:cNvSpPr/>
            <p:nvPr/>
          </p:nvSpPr>
          <p:spPr>
            <a:xfrm>
              <a:off x="5604055" y="1931306"/>
              <a:ext cx="985320" cy="986163"/>
            </a:xfrm>
            <a:custGeom>
              <a:avLst/>
              <a:gdLst>
                <a:gd name="connsiteX0" fmla="*/ 492253 w 985320"/>
                <a:gd name="connsiteY0" fmla="*/ -128 h 986163"/>
                <a:gd name="connsiteX1" fmla="*/ 24625 w 985320"/>
                <a:gd name="connsiteY1" fmla="*/ -128 h 986163"/>
                <a:gd name="connsiteX2" fmla="*/ -213 w 985320"/>
                <a:gd name="connsiteY2" fmla="*/ 25469 h 986163"/>
                <a:gd name="connsiteX3" fmla="*/ 24625 w 985320"/>
                <a:gd name="connsiteY3" fmla="*/ 50319 h 986163"/>
                <a:gd name="connsiteX4" fmla="*/ 467049 w 985320"/>
                <a:gd name="connsiteY4" fmla="*/ 492954 h 986163"/>
                <a:gd name="connsiteX5" fmla="*/ 24625 w 985320"/>
                <a:gd name="connsiteY5" fmla="*/ 935589 h 986163"/>
                <a:gd name="connsiteX6" fmla="*/ -213 w 985320"/>
                <a:gd name="connsiteY6" fmla="*/ 961186 h 986163"/>
                <a:gd name="connsiteX7" fmla="*/ 24625 w 985320"/>
                <a:gd name="connsiteY7" fmla="*/ 986036 h 986163"/>
                <a:gd name="connsiteX8" fmla="*/ 492258 w 985320"/>
                <a:gd name="connsiteY8" fmla="*/ 986036 h 986163"/>
                <a:gd name="connsiteX9" fmla="*/ 985105 w 985320"/>
                <a:gd name="connsiteY9" fmla="*/ 492954 h 986163"/>
                <a:gd name="connsiteX10" fmla="*/ 492258 w 985320"/>
                <a:gd name="connsiteY10" fmla="*/ -128 h 986163"/>
                <a:gd name="connsiteX11" fmla="*/ 409307 w 985320"/>
                <a:gd name="connsiteY11" fmla="*/ 929471 h 986163"/>
                <a:gd name="connsiteX12" fmla="*/ 617130 w 985320"/>
                <a:gd name="connsiteY12" fmla="*/ 264360 h 986163"/>
                <a:gd name="connsiteX13" fmla="*/ 409307 w 985320"/>
                <a:gd name="connsiteY13" fmla="*/ 56438 h 986163"/>
                <a:gd name="connsiteX14" fmla="*/ 772773 w 985320"/>
                <a:gd name="connsiteY14" fmla="*/ 565831 h 986163"/>
                <a:gd name="connsiteX15" fmla="*/ 409307 w 985320"/>
                <a:gd name="connsiteY15" fmla="*/ 929471 h 986163"/>
                <a:gd name="connsiteX16" fmla="*/ 517467 w 985320"/>
                <a:gd name="connsiteY16" fmla="*/ 492954 h 986163"/>
                <a:gd name="connsiteX17" fmla="*/ 253646 w 985320"/>
                <a:gd name="connsiteY17" fmla="*/ 56477 h 986163"/>
                <a:gd name="connsiteX18" fmla="*/ 616843 w 985320"/>
                <a:gd name="connsiteY18" fmla="*/ 566063 h 986163"/>
                <a:gd name="connsiteX19" fmla="*/ 253646 w 985320"/>
                <a:gd name="connsiteY19" fmla="*/ 929432 h 986163"/>
                <a:gd name="connsiteX20" fmla="*/ 517467 w 985320"/>
                <a:gd name="connsiteY20" fmla="*/ 492954 h 986163"/>
                <a:gd name="connsiteX21" fmla="*/ 565182 w 985320"/>
                <a:gd name="connsiteY21" fmla="*/ 929471 h 986163"/>
                <a:gd name="connsiteX22" fmla="*/ 773017 w 985320"/>
                <a:gd name="connsiteY22" fmla="*/ 264371 h 986163"/>
                <a:gd name="connsiteX23" fmla="*/ 565182 w 985320"/>
                <a:gd name="connsiteY23" fmla="*/ 56438 h 986163"/>
                <a:gd name="connsiteX24" fmla="*/ 928649 w 985320"/>
                <a:gd name="connsiteY24" fmla="*/ 565831 h 986163"/>
                <a:gd name="connsiteX25" fmla="*/ 565182 w 985320"/>
                <a:gd name="connsiteY25" fmla="*/ 929471 h 98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85320" h="986163">
                  <a:moveTo>
                    <a:pt x="492253" y="-128"/>
                  </a:moveTo>
                  <a:lnTo>
                    <a:pt x="24625" y="-128"/>
                  </a:lnTo>
                  <a:cubicBezTo>
                    <a:pt x="10704" y="77"/>
                    <a:pt x="-417" y="11540"/>
                    <a:pt x="-213" y="25469"/>
                  </a:cubicBezTo>
                  <a:cubicBezTo>
                    <a:pt x="-9" y="39110"/>
                    <a:pt x="10991" y="50115"/>
                    <a:pt x="24625" y="50319"/>
                  </a:cubicBezTo>
                  <a:cubicBezTo>
                    <a:pt x="268972" y="50319"/>
                    <a:pt x="467049" y="248492"/>
                    <a:pt x="467049" y="492954"/>
                  </a:cubicBezTo>
                  <a:cubicBezTo>
                    <a:pt x="467049" y="737417"/>
                    <a:pt x="268972" y="935589"/>
                    <a:pt x="24625" y="935589"/>
                  </a:cubicBezTo>
                  <a:cubicBezTo>
                    <a:pt x="10704" y="935794"/>
                    <a:pt x="-417" y="947257"/>
                    <a:pt x="-213" y="961186"/>
                  </a:cubicBezTo>
                  <a:cubicBezTo>
                    <a:pt x="-9" y="974827"/>
                    <a:pt x="10991" y="985832"/>
                    <a:pt x="24625" y="986036"/>
                  </a:cubicBezTo>
                  <a:lnTo>
                    <a:pt x="492258" y="986036"/>
                  </a:lnTo>
                  <a:cubicBezTo>
                    <a:pt x="764448" y="986036"/>
                    <a:pt x="985105" y="765274"/>
                    <a:pt x="985105" y="492954"/>
                  </a:cubicBezTo>
                  <a:cubicBezTo>
                    <a:pt x="985105" y="220635"/>
                    <a:pt x="764448" y="-128"/>
                    <a:pt x="492258" y="-128"/>
                  </a:cubicBezTo>
                  <a:close/>
                  <a:moveTo>
                    <a:pt x="409307" y="929471"/>
                  </a:moveTo>
                  <a:cubicBezTo>
                    <a:pt x="650272" y="803219"/>
                    <a:pt x="743317" y="505440"/>
                    <a:pt x="617130" y="264360"/>
                  </a:cubicBezTo>
                  <a:cubicBezTo>
                    <a:pt x="570619" y="175505"/>
                    <a:pt x="498120" y="102966"/>
                    <a:pt x="409307" y="56438"/>
                  </a:cubicBezTo>
                  <a:cubicBezTo>
                    <a:pt x="650272" y="96687"/>
                    <a:pt x="813003" y="324745"/>
                    <a:pt x="772773" y="565831"/>
                  </a:cubicBezTo>
                  <a:cubicBezTo>
                    <a:pt x="741665" y="752258"/>
                    <a:pt x="595650" y="898347"/>
                    <a:pt x="409307" y="929471"/>
                  </a:cubicBezTo>
                  <a:close/>
                  <a:moveTo>
                    <a:pt x="517467" y="492954"/>
                  </a:moveTo>
                  <a:cubicBezTo>
                    <a:pt x="517323" y="309750"/>
                    <a:pt x="415748" y="141695"/>
                    <a:pt x="253646" y="56477"/>
                  </a:cubicBezTo>
                  <a:cubicBezTo>
                    <a:pt x="494590" y="96853"/>
                    <a:pt x="657200" y="324999"/>
                    <a:pt x="616843" y="566063"/>
                  </a:cubicBezTo>
                  <a:cubicBezTo>
                    <a:pt x="585668" y="752302"/>
                    <a:pt x="439802" y="898237"/>
                    <a:pt x="253646" y="929432"/>
                  </a:cubicBezTo>
                  <a:cubicBezTo>
                    <a:pt x="415748" y="844214"/>
                    <a:pt x="517323" y="676159"/>
                    <a:pt x="517467" y="492954"/>
                  </a:cubicBezTo>
                  <a:close/>
                  <a:moveTo>
                    <a:pt x="565182" y="929471"/>
                  </a:moveTo>
                  <a:cubicBezTo>
                    <a:pt x="806147" y="803230"/>
                    <a:pt x="899198" y="505451"/>
                    <a:pt x="773017" y="264371"/>
                  </a:cubicBezTo>
                  <a:cubicBezTo>
                    <a:pt x="726505" y="175510"/>
                    <a:pt x="654001" y="102971"/>
                    <a:pt x="565182" y="56438"/>
                  </a:cubicBezTo>
                  <a:cubicBezTo>
                    <a:pt x="806147" y="96687"/>
                    <a:pt x="968879" y="324745"/>
                    <a:pt x="928649" y="565831"/>
                  </a:cubicBezTo>
                  <a:cubicBezTo>
                    <a:pt x="897540" y="752258"/>
                    <a:pt x="751526" y="898347"/>
                    <a:pt x="565182" y="92947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3D32DB43-D483-403F-B649-28618EBCE130}"/>
                </a:ext>
              </a:extLst>
            </p:cNvPr>
            <p:cNvSpPr/>
            <p:nvPr/>
          </p:nvSpPr>
          <p:spPr>
            <a:xfrm>
              <a:off x="4963463" y="4297995"/>
              <a:ext cx="59582" cy="174106"/>
            </a:xfrm>
            <a:custGeom>
              <a:avLst/>
              <a:gdLst>
                <a:gd name="connsiteX0" fmla="*/ -216 w 59582"/>
                <a:gd name="connsiteY0" fmla="*/ 173979 h 174106"/>
                <a:gd name="connsiteX1" fmla="*/ 36219 w 59582"/>
                <a:gd name="connsiteY1" fmla="*/ -128 h 174106"/>
                <a:gd name="connsiteX2" fmla="*/ 59367 w 59582"/>
                <a:gd name="connsiteY2" fmla="*/ -128 h 174106"/>
                <a:gd name="connsiteX3" fmla="*/ 23043 w 59582"/>
                <a:gd name="connsiteY3" fmla="*/ 173979 h 174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82" h="174106">
                  <a:moveTo>
                    <a:pt x="-216" y="173979"/>
                  </a:moveTo>
                  <a:lnTo>
                    <a:pt x="36219" y="-128"/>
                  </a:lnTo>
                  <a:lnTo>
                    <a:pt x="59367" y="-128"/>
                  </a:lnTo>
                  <a:lnTo>
                    <a:pt x="23043" y="173979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25459BCC-9891-4CAD-8055-922F30FE07BE}"/>
                </a:ext>
              </a:extLst>
            </p:cNvPr>
            <p:cNvSpPr/>
            <p:nvPr/>
          </p:nvSpPr>
          <p:spPr>
            <a:xfrm>
              <a:off x="5023957" y="4343085"/>
              <a:ext cx="120284" cy="129016"/>
            </a:xfrm>
            <a:custGeom>
              <a:avLst/>
              <a:gdLst>
                <a:gd name="connsiteX0" fmla="*/ -216 w 120284"/>
                <a:gd name="connsiteY0" fmla="*/ 128889 h 129016"/>
                <a:gd name="connsiteX1" fmla="*/ 26136 w 120284"/>
                <a:gd name="connsiteY1" fmla="*/ 2780 h 129016"/>
                <a:gd name="connsiteX2" fmla="*/ 45599 w 120284"/>
                <a:gd name="connsiteY2" fmla="*/ 2780 h 129016"/>
                <a:gd name="connsiteX3" fmla="*/ 40970 w 120284"/>
                <a:gd name="connsiteY3" fmla="*/ 24751 h 129016"/>
                <a:gd name="connsiteX4" fmla="*/ 64725 w 120284"/>
                <a:gd name="connsiteY4" fmla="*/ 5864 h 129016"/>
                <a:gd name="connsiteX5" fmla="*/ 87277 w 120284"/>
                <a:gd name="connsiteY5" fmla="*/ -72 h 129016"/>
                <a:gd name="connsiteX6" fmla="*/ 111314 w 120284"/>
                <a:gd name="connsiteY6" fmla="*/ 8219 h 129016"/>
                <a:gd name="connsiteX7" fmla="*/ 120037 w 120284"/>
                <a:gd name="connsiteY7" fmla="*/ 30427 h 129016"/>
                <a:gd name="connsiteX8" fmla="*/ 116949 w 120284"/>
                <a:gd name="connsiteY8" fmla="*/ 52536 h 129016"/>
                <a:gd name="connsiteX9" fmla="*/ 100928 w 120284"/>
                <a:gd name="connsiteY9" fmla="*/ 128889 h 129016"/>
                <a:gd name="connsiteX10" fmla="*/ 79443 w 120284"/>
                <a:gd name="connsiteY10" fmla="*/ 128889 h 129016"/>
                <a:gd name="connsiteX11" fmla="*/ 96182 w 120284"/>
                <a:gd name="connsiteY11" fmla="*/ 48971 h 129016"/>
                <a:gd name="connsiteX12" fmla="*/ 98674 w 120284"/>
                <a:gd name="connsiteY12" fmla="*/ 31754 h 129016"/>
                <a:gd name="connsiteX13" fmla="*/ 94343 w 120284"/>
                <a:gd name="connsiteY13" fmla="*/ 21540 h 129016"/>
                <a:gd name="connsiteX14" fmla="*/ 81818 w 120284"/>
                <a:gd name="connsiteY14" fmla="*/ 17621 h 129016"/>
                <a:gd name="connsiteX15" fmla="*/ 52444 w 120284"/>
                <a:gd name="connsiteY15" fmla="*/ 29499 h 129016"/>
                <a:gd name="connsiteX16" fmla="*/ 33512 w 120284"/>
                <a:gd name="connsiteY16" fmla="*/ 70229 h 129016"/>
                <a:gd name="connsiteX17" fmla="*/ 21286 w 120284"/>
                <a:gd name="connsiteY17" fmla="*/ 128889 h 12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284" h="129016">
                  <a:moveTo>
                    <a:pt x="-216" y="128889"/>
                  </a:moveTo>
                  <a:lnTo>
                    <a:pt x="26136" y="2780"/>
                  </a:lnTo>
                  <a:lnTo>
                    <a:pt x="45599" y="2780"/>
                  </a:lnTo>
                  <a:lnTo>
                    <a:pt x="40970" y="24751"/>
                  </a:lnTo>
                  <a:cubicBezTo>
                    <a:pt x="47914" y="17322"/>
                    <a:pt x="55919" y="10955"/>
                    <a:pt x="64725" y="5864"/>
                  </a:cubicBezTo>
                  <a:cubicBezTo>
                    <a:pt x="71626" y="2029"/>
                    <a:pt x="79382" y="-11"/>
                    <a:pt x="87277" y="-72"/>
                  </a:cubicBezTo>
                  <a:cubicBezTo>
                    <a:pt x="96066" y="-580"/>
                    <a:pt x="104707" y="2399"/>
                    <a:pt x="111314" y="8219"/>
                  </a:cubicBezTo>
                  <a:cubicBezTo>
                    <a:pt x="117247" y="14045"/>
                    <a:pt x="120419" y="22120"/>
                    <a:pt x="120037" y="30427"/>
                  </a:cubicBezTo>
                  <a:cubicBezTo>
                    <a:pt x="119673" y="37873"/>
                    <a:pt x="118640" y="45273"/>
                    <a:pt x="116949" y="52536"/>
                  </a:cubicBezTo>
                  <a:lnTo>
                    <a:pt x="100928" y="128889"/>
                  </a:lnTo>
                  <a:lnTo>
                    <a:pt x="79443" y="128889"/>
                  </a:lnTo>
                  <a:lnTo>
                    <a:pt x="96182" y="48971"/>
                  </a:lnTo>
                  <a:cubicBezTo>
                    <a:pt x="97552" y="43323"/>
                    <a:pt x="98387" y="37557"/>
                    <a:pt x="98674" y="31754"/>
                  </a:cubicBezTo>
                  <a:cubicBezTo>
                    <a:pt x="98806" y="27874"/>
                    <a:pt x="97221" y="24138"/>
                    <a:pt x="94343" y="21540"/>
                  </a:cubicBezTo>
                  <a:cubicBezTo>
                    <a:pt x="90807" y="18710"/>
                    <a:pt x="86338" y="17311"/>
                    <a:pt x="81818" y="17621"/>
                  </a:cubicBezTo>
                  <a:cubicBezTo>
                    <a:pt x="70858" y="17604"/>
                    <a:pt x="60317" y="21866"/>
                    <a:pt x="52444" y="29499"/>
                  </a:cubicBezTo>
                  <a:cubicBezTo>
                    <a:pt x="43854" y="37419"/>
                    <a:pt x="37539" y="50994"/>
                    <a:pt x="33512" y="70229"/>
                  </a:cubicBezTo>
                  <a:lnTo>
                    <a:pt x="21286" y="128889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67D74C1C-BF0C-4BA4-8835-1C879418E42B}"/>
                </a:ext>
              </a:extLst>
            </p:cNvPr>
            <p:cNvSpPr/>
            <p:nvPr/>
          </p:nvSpPr>
          <p:spPr>
            <a:xfrm>
              <a:off x="5162699" y="4297973"/>
              <a:ext cx="132585" cy="176988"/>
            </a:xfrm>
            <a:custGeom>
              <a:avLst/>
              <a:gdLst>
                <a:gd name="connsiteX0" fmla="*/ 80008 w 132585"/>
                <a:gd name="connsiteY0" fmla="*/ 155717 h 176988"/>
                <a:gd name="connsiteX1" fmla="*/ 41551 w 132585"/>
                <a:gd name="connsiteY1" fmla="*/ 176853 h 176988"/>
                <a:gd name="connsiteX2" fmla="*/ 11719 w 132585"/>
                <a:gd name="connsiteY2" fmla="*/ 163588 h 176988"/>
                <a:gd name="connsiteX3" fmla="*/ -209 w 132585"/>
                <a:gd name="connsiteY3" fmla="*/ 125174 h 176988"/>
                <a:gd name="connsiteX4" fmla="*/ 9227 w 132585"/>
                <a:gd name="connsiteY4" fmla="*/ 83079 h 176988"/>
                <a:gd name="connsiteX5" fmla="*/ 32845 w 132585"/>
                <a:gd name="connsiteY5" fmla="*/ 54520 h 176988"/>
                <a:gd name="connsiteX6" fmla="*/ 61268 w 132585"/>
                <a:gd name="connsiteY6" fmla="*/ 45018 h 176988"/>
                <a:gd name="connsiteX7" fmla="*/ 96758 w 132585"/>
                <a:gd name="connsiteY7" fmla="*/ 67680 h 176988"/>
                <a:gd name="connsiteX8" fmla="*/ 111001 w 132585"/>
                <a:gd name="connsiteY8" fmla="*/ -128 h 176988"/>
                <a:gd name="connsiteX9" fmla="*/ 132370 w 132585"/>
                <a:gd name="connsiteY9" fmla="*/ -128 h 176988"/>
                <a:gd name="connsiteX10" fmla="*/ 96046 w 132585"/>
                <a:gd name="connsiteY10" fmla="*/ 173979 h 176988"/>
                <a:gd name="connsiteX11" fmla="*/ 76229 w 132585"/>
                <a:gd name="connsiteY11" fmla="*/ 173979 h 176988"/>
                <a:gd name="connsiteX12" fmla="*/ 21138 w 132585"/>
                <a:gd name="connsiteY12" fmla="*/ 121161 h 176988"/>
                <a:gd name="connsiteX13" fmla="*/ 23746 w 132585"/>
                <a:gd name="connsiteY13" fmla="*/ 141944 h 176988"/>
                <a:gd name="connsiteX14" fmla="*/ 32651 w 132585"/>
                <a:gd name="connsiteY14" fmla="*/ 154590 h 176988"/>
                <a:gd name="connsiteX15" fmla="*/ 47722 w 132585"/>
                <a:gd name="connsiteY15" fmla="*/ 159636 h 176988"/>
                <a:gd name="connsiteX16" fmla="*/ 74190 w 132585"/>
                <a:gd name="connsiteY16" fmla="*/ 144436 h 176988"/>
                <a:gd name="connsiteX17" fmla="*/ 90096 w 132585"/>
                <a:gd name="connsiteY17" fmla="*/ 94559 h 176988"/>
                <a:gd name="connsiteX18" fmla="*/ 82262 w 132585"/>
                <a:gd name="connsiteY18" fmla="*/ 71168 h 176988"/>
                <a:gd name="connsiteX19" fmla="*/ 62561 w 132585"/>
                <a:gd name="connsiteY19" fmla="*/ 62733 h 176988"/>
                <a:gd name="connsiteX20" fmla="*/ 48496 w 132585"/>
                <a:gd name="connsiteY20" fmla="*/ 66177 h 176988"/>
                <a:gd name="connsiteX21" fmla="*/ 35916 w 132585"/>
                <a:gd name="connsiteY21" fmla="*/ 77878 h 176988"/>
                <a:gd name="connsiteX22" fmla="*/ 25419 w 132585"/>
                <a:gd name="connsiteY22" fmla="*/ 98837 h 176988"/>
                <a:gd name="connsiteX23" fmla="*/ 21138 w 132585"/>
                <a:gd name="connsiteY23" fmla="*/ 121161 h 17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2585" h="176988">
                  <a:moveTo>
                    <a:pt x="80008" y="155717"/>
                  </a:moveTo>
                  <a:cubicBezTo>
                    <a:pt x="67743" y="169806"/>
                    <a:pt x="54926" y="176848"/>
                    <a:pt x="41551" y="176853"/>
                  </a:cubicBezTo>
                  <a:cubicBezTo>
                    <a:pt x="30132" y="177080"/>
                    <a:pt x="19204" y="172222"/>
                    <a:pt x="11719" y="163588"/>
                  </a:cubicBezTo>
                  <a:cubicBezTo>
                    <a:pt x="3763" y="154767"/>
                    <a:pt x="-214" y="141960"/>
                    <a:pt x="-209" y="125174"/>
                  </a:cubicBezTo>
                  <a:cubicBezTo>
                    <a:pt x="-386" y="110599"/>
                    <a:pt x="2846" y="96184"/>
                    <a:pt x="9227" y="83079"/>
                  </a:cubicBezTo>
                  <a:cubicBezTo>
                    <a:pt x="14448" y="71643"/>
                    <a:pt x="22596" y="61794"/>
                    <a:pt x="32845" y="54520"/>
                  </a:cubicBezTo>
                  <a:cubicBezTo>
                    <a:pt x="41148" y="48561"/>
                    <a:pt x="51054" y="45251"/>
                    <a:pt x="61268" y="45018"/>
                  </a:cubicBezTo>
                  <a:cubicBezTo>
                    <a:pt x="76566" y="44775"/>
                    <a:pt x="90538" y="53696"/>
                    <a:pt x="96758" y="67680"/>
                  </a:cubicBezTo>
                  <a:lnTo>
                    <a:pt x="111001" y="-128"/>
                  </a:lnTo>
                  <a:lnTo>
                    <a:pt x="132370" y="-128"/>
                  </a:lnTo>
                  <a:lnTo>
                    <a:pt x="96046" y="173979"/>
                  </a:lnTo>
                  <a:lnTo>
                    <a:pt x="76229" y="173979"/>
                  </a:lnTo>
                  <a:close/>
                  <a:moveTo>
                    <a:pt x="21138" y="121161"/>
                  </a:moveTo>
                  <a:cubicBezTo>
                    <a:pt x="20900" y="128181"/>
                    <a:pt x="21779" y="135201"/>
                    <a:pt x="23746" y="141944"/>
                  </a:cubicBezTo>
                  <a:cubicBezTo>
                    <a:pt x="25431" y="146929"/>
                    <a:pt x="28524" y="151323"/>
                    <a:pt x="32651" y="154590"/>
                  </a:cubicBezTo>
                  <a:cubicBezTo>
                    <a:pt x="36927" y="157983"/>
                    <a:pt x="42264" y="159769"/>
                    <a:pt x="47722" y="159636"/>
                  </a:cubicBezTo>
                  <a:cubicBezTo>
                    <a:pt x="57456" y="159636"/>
                    <a:pt x="66279" y="154568"/>
                    <a:pt x="74190" y="144436"/>
                  </a:cubicBezTo>
                  <a:cubicBezTo>
                    <a:pt x="85068" y="130138"/>
                    <a:pt x="90687" y="112522"/>
                    <a:pt x="90096" y="94559"/>
                  </a:cubicBezTo>
                  <a:cubicBezTo>
                    <a:pt x="90604" y="86041"/>
                    <a:pt x="87797" y="77662"/>
                    <a:pt x="82262" y="71168"/>
                  </a:cubicBezTo>
                  <a:cubicBezTo>
                    <a:pt x="77229" y="65629"/>
                    <a:pt x="70042" y="62551"/>
                    <a:pt x="62561" y="62733"/>
                  </a:cubicBezTo>
                  <a:cubicBezTo>
                    <a:pt x="57655" y="62673"/>
                    <a:pt x="52816" y="63861"/>
                    <a:pt x="48496" y="66177"/>
                  </a:cubicBezTo>
                  <a:cubicBezTo>
                    <a:pt x="43529" y="69150"/>
                    <a:pt x="39242" y="73136"/>
                    <a:pt x="35916" y="77878"/>
                  </a:cubicBezTo>
                  <a:cubicBezTo>
                    <a:pt x="31320" y="84256"/>
                    <a:pt x="27778" y="91336"/>
                    <a:pt x="25419" y="98837"/>
                  </a:cubicBezTo>
                  <a:cubicBezTo>
                    <a:pt x="22812" y="106000"/>
                    <a:pt x="21365" y="113539"/>
                    <a:pt x="21138" y="12116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73F43A01-EA14-4D92-B3AE-4EB269886131}"/>
                </a:ext>
              </a:extLst>
            </p:cNvPr>
            <p:cNvSpPr/>
            <p:nvPr/>
          </p:nvSpPr>
          <p:spPr>
            <a:xfrm>
              <a:off x="5299038" y="4345993"/>
              <a:ext cx="120372" cy="128994"/>
            </a:xfrm>
            <a:custGeom>
              <a:avLst/>
              <a:gdLst>
                <a:gd name="connsiteX0" fmla="*/ 78711 w 120372"/>
                <a:gd name="connsiteY0" fmla="*/ 103181 h 128994"/>
                <a:gd name="connsiteX1" fmla="*/ 32305 w 120372"/>
                <a:gd name="connsiteY1" fmla="*/ 128833 h 128994"/>
                <a:gd name="connsiteX2" fmla="*/ 8748 w 120372"/>
                <a:gd name="connsiteY2" fmla="*/ 120460 h 128994"/>
                <a:gd name="connsiteX3" fmla="*/ -213 w 120372"/>
                <a:gd name="connsiteY3" fmla="*/ 99976 h 128994"/>
                <a:gd name="connsiteX4" fmla="*/ 3820 w 120372"/>
                <a:gd name="connsiteY4" fmla="*/ 72666 h 128994"/>
                <a:gd name="connsiteX5" fmla="*/ 19013 w 120372"/>
                <a:gd name="connsiteY5" fmla="*/ -128 h 128994"/>
                <a:gd name="connsiteX6" fmla="*/ 40498 w 120372"/>
                <a:gd name="connsiteY6" fmla="*/ -128 h 128994"/>
                <a:gd name="connsiteX7" fmla="*/ 23637 w 120372"/>
                <a:gd name="connsiteY7" fmla="*/ 80503 h 128994"/>
                <a:gd name="connsiteX8" fmla="*/ 21499 w 120372"/>
                <a:gd name="connsiteY8" fmla="*/ 96179 h 128994"/>
                <a:gd name="connsiteX9" fmla="*/ 25836 w 120372"/>
                <a:gd name="connsiteY9" fmla="*/ 107277 h 128994"/>
                <a:gd name="connsiteX10" fmla="*/ 38592 w 120372"/>
                <a:gd name="connsiteY10" fmla="*/ 111257 h 128994"/>
                <a:gd name="connsiteX11" fmla="*/ 56221 w 120372"/>
                <a:gd name="connsiteY11" fmla="*/ 106863 h 128994"/>
                <a:gd name="connsiteX12" fmla="*/ 71054 w 120372"/>
                <a:gd name="connsiteY12" fmla="*/ 94990 h 128994"/>
                <a:gd name="connsiteX13" fmla="*/ 81203 w 120372"/>
                <a:gd name="connsiteY13" fmla="*/ 77303 h 128994"/>
                <a:gd name="connsiteX14" fmla="*/ 87280 w 120372"/>
                <a:gd name="connsiteY14" fmla="*/ 54382 h 128994"/>
                <a:gd name="connsiteX15" fmla="*/ 98672 w 120372"/>
                <a:gd name="connsiteY15" fmla="*/ -122 h 128994"/>
                <a:gd name="connsiteX16" fmla="*/ 120157 w 120372"/>
                <a:gd name="connsiteY16" fmla="*/ -122 h 128994"/>
                <a:gd name="connsiteX17" fmla="*/ 93805 w 120372"/>
                <a:gd name="connsiteY17" fmla="*/ 125987 h 128994"/>
                <a:gd name="connsiteX18" fmla="*/ 73982 w 120372"/>
                <a:gd name="connsiteY18" fmla="*/ 125987 h 1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0372" h="128994">
                  <a:moveTo>
                    <a:pt x="78711" y="103181"/>
                  </a:moveTo>
                  <a:cubicBezTo>
                    <a:pt x="63613" y="120282"/>
                    <a:pt x="48144" y="128833"/>
                    <a:pt x="32305" y="128833"/>
                  </a:cubicBezTo>
                  <a:cubicBezTo>
                    <a:pt x="23659" y="129226"/>
                    <a:pt x="15207" y="126219"/>
                    <a:pt x="8748" y="120460"/>
                  </a:cubicBezTo>
                  <a:cubicBezTo>
                    <a:pt x="2936" y="115253"/>
                    <a:pt x="-334" y="107780"/>
                    <a:pt x="-213" y="99976"/>
                  </a:cubicBezTo>
                  <a:cubicBezTo>
                    <a:pt x="323" y="90773"/>
                    <a:pt x="1677" y="81631"/>
                    <a:pt x="3820" y="72666"/>
                  </a:cubicBezTo>
                  <a:lnTo>
                    <a:pt x="19013" y="-128"/>
                  </a:lnTo>
                  <a:lnTo>
                    <a:pt x="40498" y="-128"/>
                  </a:lnTo>
                  <a:lnTo>
                    <a:pt x="23637" y="80503"/>
                  </a:lnTo>
                  <a:cubicBezTo>
                    <a:pt x="22416" y="85649"/>
                    <a:pt x="21698" y="90895"/>
                    <a:pt x="21499" y="96179"/>
                  </a:cubicBezTo>
                  <a:cubicBezTo>
                    <a:pt x="21262" y="100335"/>
                    <a:pt x="22847" y="104386"/>
                    <a:pt x="25836" y="107277"/>
                  </a:cubicBezTo>
                  <a:cubicBezTo>
                    <a:pt x="29432" y="110173"/>
                    <a:pt x="33990" y="111594"/>
                    <a:pt x="38592" y="111257"/>
                  </a:cubicBezTo>
                  <a:cubicBezTo>
                    <a:pt x="44735" y="111229"/>
                    <a:pt x="50779" y="109720"/>
                    <a:pt x="56221" y="106863"/>
                  </a:cubicBezTo>
                  <a:cubicBezTo>
                    <a:pt x="61922" y="103961"/>
                    <a:pt x="66972" y="99920"/>
                    <a:pt x="71054" y="94990"/>
                  </a:cubicBezTo>
                  <a:cubicBezTo>
                    <a:pt x="75386" y="89695"/>
                    <a:pt x="78816" y="83715"/>
                    <a:pt x="81203" y="77303"/>
                  </a:cubicBezTo>
                  <a:cubicBezTo>
                    <a:pt x="83800" y="69825"/>
                    <a:pt x="85833" y="62164"/>
                    <a:pt x="87280" y="54382"/>
                  </a:cubicBezTo>
                  <a:lnTo>
                    <a:pt x="98672" y="-122"/>
                  </a:lnTo>
                  <a:lnTo>
                    <a:pt x="120157" y="-122"/>
                  </a:lnTo>
                  <a:lnTo>
                    <a:pt x="93805" y="125987"/>
                  </a:lnTo>
                  <a:lnTo>
                    <a:pt x="73982" y="125987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A4D1A149-36AB-4CED-B36B-03CAA20958DE}"/>
                </a:ext>
              </a:extLst>
            </p:cNvPr>
            <p:cNvSpPr/>
            <p:nvPr/>
          </p:nvSpPr>
          <p:spPr>
            <a:xfrm>
              <a:off x="5427864" y="4343050"/>
              <a:ext cx="111839" cy="131960"/>
            </a:xfrm>
            <a:custGeom>
              <a:avLst/>
              <a:gdLst>
                <a:gd name="connsiteX0" fmla="*/ -172 w 111839"/>
                <a:gd name="connsiteY0" fmla="*/ 85823 h 131960"/>
                <a:gd name="connsiteX1" fmla="*/ 21313 w 111839"/>
                <a:gd name="connsiteY1" fmla="*/ 84513 h 131960"/>
                <a:gd name="connsiteX2" fmla="*/ 24158 w 111839"/>
                <a:gd name="connsiteY2" fmla="*/ 100309 h 131960"/>
                <a:gd name="connsiteX3" fmla="*/ 34654 w 111839"/>
                <a:gd name="connsiteY3" fmla="*/ 110994 h 131960"/>
                <a:gd name="connsiteX4" fmla="*/ 52515 w 111839"/>
                <a:gd name="connsiteY4" fmla="*/ 115150 h 131960"/>
                <a:gd name="connsiteX5" fmla="*/ 73879 w 111839"/>
                <a:gd name="connsiteY5" fmla="*/ 109451 h 131960"/>
                <a:gd name="connsiteX6" fmla="*/ 81000 w 111839"/>
                <a:gd name="connsiteY6" fmla="*/ 96031 h 131960"/>
                <a:gd name="connsiteX7" fmla="*/ 76729 w 111839"/>
                <a:gd name="connsiteY7" fmla="*/ 85464 h 131960"/>
                <a:gd name="connsiteX8" fmla="*/ 55305 w 111839"/>
                <a:gd name="connsiteY8" fmla="*/ 73171 h 131960"/>
                <a:gd name="connsiteX9" fmla="*/ 33522 w 111839"/>
                <a:gd name="connsiteY9" fmla="*/ 62901 h 131960"/>
                <a:gd name="connsiteX10" fmla="*/ 21539 w 111839"/>
                <a:gd name="connsiteY10" fmla="*/ 51443 h 131960"/>
                <a:gd name="connsiteX11" fmla="*/ 17501 w 111839"/>
                <a:gd name="connsiteY11" fmla="*/ 36299 h 131960"/>
                <a:gd name="connsiteX12" fmla="*/ 29373 w 111839"/>
                <a:gd name="connsiteY12" fmla="*/ 10653 h 131960"/>
                <a:gd name="connsiteX13" fmla="*/ 62603 w 111839"/>
                <a:gd name="connsiteY13" fmla="*/ -37 h 131960"/>
                <a:gd name="connsiteX14" fmla="*/ 98745 w 111839"/>
                <a:gd name="connsiteY14" fmla="*/ 10951 h 131960"/>
                <a:gd name="connsiteX15" fmla="*/ 111623 w 111839"/>
                <a:gd name="connsiteY15" fmla="*/ 39864 h 131960"/>
                <a:gd name="connsiteX16" fmla="*/ 90629 w 111839"/>
                <a:gd name="connsiteY16" fmla="*/ 41290 h 131960"/>
                <a:gd name="connsiteX17" fmla="*/ 82563 w 111839"/>
                <a:gd name="connsiteY17" fmla="*/ 23238 h 131960"/>
                <a:gd name="connsiteX18" fmla="*/ 61078 w 111839"/>
                <a:gd name="connsiteY18" fmla="*/ 16606 h 131960"/>
                <a:gd name="connsiteX19" fmla="*/ 43748 w 111839"/>
                <a:gd name="connsiteY19" fmla="*/ 21713 h 131960"/>
                <a:gd name="connsiteX20" fmla="*/ 37577 w 111839"/>
                <a:gd name="connsiteY20" fmla="*/ 32767 h 131960"/>
                <a:gd name="connsiteX21" fmla="*/ 42919 w 111839"/>
                <a:gd name="connsiteY21" fmla="*/ 43219 h 131960"/>
                <a:gd name="connsiteX22" fmla="*/ 61316 w 111839"/>
                <a:gd name="connsiteY22" fmla="*/ 52715 h 131960"/>
                <a:gd name="connsiteX23" fmla="*/ 92414 w 111839"/>
                <a:gd name="connsiteY23" fmla="*/ 69578 h 131960"/>
                <a:gd name="connsiteX24" fmla="*/ 102618 w 111839"/>
                <a:gd name="connsiteY24" fmla="*/ 93566 h 131960"/>
                <a:gd name="connsiteX25" fmla="*/ 96861 w 111839"/>
                <a:gd name="connsiteY25" fmla="*/ 111972 h 131960"/>
                <a:gd name="connsiteX26" fmla="*/ 79298 w 111839"/>
                <a:gd name="connsiteY26" fmla="*/ 126398 h 131960"/>
                <a:gd name="connsiteX27" fmla="*/ 51466 w 111839"/>
                <a:gd name="connsiteY27" fmla="*/ 131803 h 131960"/>
                <a:gd name="connsiteX28" fmla="*/ 14313 w 111839"/>
                <a:gd name="connsiteY28" fmla="*/ 120998 h 131960"/>
                <a:gd name="connsiteX29" fmla="*/ -172 w 111839"/>
                <a:gd name="connsiteY29" fmla="*/ 85823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1839" h="131960">
                  <a:moveTo>
                    <a:pt x="-172" y="85823"/>
                  </a:moveTo>
                  <a:lnTo>
                    <a:pt x="21313" y="84513"/>
                  </a:lnTo>
                  <a:cubicBezTo>
                    <a:pt x="21169" y="89918"/>
                    <a:pt x="22136" y="95296"/>
                    <a:pt x="24158" y="100309"/>
                  </a:cubicBezTo>
                  <a:cubicBezTo>
                    <a:pt x="26340" y="104958"/>
                    <a:pt x="30041" y="108727"/>
                    <a:pt x="34654" y="110994"/>
                  </a:cubicBezTo>
                  <a:cubicBezTo>
                    <a:pt x="40162" y="113862"/>
                    <a:pt x="46306" y="115294"/>
                    <a:pt x="52515" y="115150"/>
                  </a:cubicBezTo>
                  <a:cubicBezTo>
                    <a:pt x="60073" y="115703"/>
                    <a:pt x="67597" y="113696"/>
                    <a:pt x="73879" y="109451"/>
                  </a:cubicBezTo>
                  <a:cubicBezTo>
                    <a:pt x="78254" y="106367"/>
                    <a:pt x="80900" y="101387"/>
                    <a:pt x="81000" y="96031"/>
                  </a:cubicBezTo>
                  <a:cubicBezTo>
                    <a:pt x="80917" y="92102"/>
                    <a:pt x="79398" y="88343"/>
                    <a:pt x="76729" y="85464"/>
                  </a:cubicBezTo>
                  <a:cubicBezTo>
                    <a:pt x="70404" y="80085"/>
                    <a:pt x="63139" y="75918"/>
                    <a:pt x="55305" y="73171"/>
                  </a:cubicBezTo>
                  <a:cubicBezTo>
                    <a:pt x="47847" y="70181"/>
                    <a:pt x="40571" y="66754"/>
                    <a:pt x="33522" y="62901"/>
                  </a:cubicBezTo>
                  <a:cubicBezTo>
                    <a:pt x="28671" y="60094"/>
                    <a:pt x="24561" y="56164"/>
                    <a:pt x="21539" y="51443"/>
                  </a:cubicBezTo>
                  <a:cubicBezTo>
                    <a:pt x="18799" y="46878"/>
                    <a:pt x="17396" y="41627"/>
                    <a:pt x="17501" y="36299"/>
                  </a:cubicBezTo>
                  <a:cubicBezTo>
                    <a:pt x="17462" y="26411"/>
                    <a:pt x="21810" y="17014"/>
                    <a:pt x="29373" y="10653"/>
                  </a:cubicBezTo>
                  <a:cubicBezTo>
                    <a:pt x="38715" y="3036"/>
                    <a:pt x="50576" y="-778"/>
                    <a:pt x="62603" y="-37"/>
                  </a:cubicBezTo>
                  <a:cubicBezTo>
                    <a:pt x="78442" y="-37"/>
                    <a:pt x="90486" y="3628"/>
                    <a:pt x="98745" y="10951"/>
                  </a:cubicBezTo>
                  <a:cubicBezTo>
                    <a:pt x="107015" y="18269"/>
                    <a:pt x="111711" y="28815"/>
                    <a:pt x="111623" y="39864"/>
                  </a:cubicBezTo>
                  <a:lnTo>
                    <a:pt x="90629" y="41290"/>
                  </a:lnTo>
                  <a:cubicBezTo>
                    <a:pt x="90635" y="34398"/>
                    <a:pt x="87701" y="27831"/>
                    <a:pt x="82563" y="23238"/>
                  </a:cubicBezTo>
                  <a:cubicBezTo>
                    <a:pt x="76459" y="18468"/>
                    <a:pt x="68813" y="16108"/>
                    <a:pt x="61078" y="16606"/>
                  </a:cubicBezTo>
                  <a:cubicBezTo>
                    <a:pt x="54880" y="16224"/>
                    <a:pt x="48747" y="18032"/>
                    <a:pt x="43748" y="21713"/>
                  </a:cubicBezTo>
                  <a:cubicBezTo>
                    <a:pt x="40096" y="24250"/>
                    <a:pt x="37820" y="28329"/>
                    <a:pt x="37577" y="32767"/>
                  </a:cubicBezTo>
                  <a:cubicBezTo>
                    <a:pt x="37654" y="36890"/>
                    <a:pt x="39626" y="40743"/>
                    <a:pt x="42919" y="43219"/>
                  </a:cubicBezTo>
                  <a:cubicBezTo>
                    <a:pt x="48659" y="47088"/>
                    <a:pt x="54836" y="50277"/>
                    <a:pt x="61316" y="52715"/>
                  </a:cubicBezTo>
                  <a:cubicBezTo>
                    <a:pt x="72437" y="56822"/>
                    <a:pt x="82906" y="62498"/>
                    <a:pt x="92414" y="69578"/>
                  </a:cubicBezTo>
                  <a:cubicBezTo>
                    <a:pt x="99054" y="75769"/>
                    <a:pt x="102761" y="84485"/>
                    <a:pt x="102618" y="93566"/>
                  </a:cubicBezTo>
                  <a:cubicBezTo>
                    <a:pt x="102524" y="100133"/>
                    <a:pt x="100524" y="106528"/>
                    <a:pt x="96861" y="111972"/>
                  </a:cubicBezTo>
                  <a:cubicBezTo>
                    <a:pt x="92541" y="118395"/>
                    <a:pt x="86436" y="123408"/>
                    <a:pt x="79298" y="126398"/>
                  </a:cubicBezTo>
                  <a:cubicBezTo>
                    <a:pt x="70520" y="130184"/>
                    <a:pt x="61023" y="132030"/>
                    <a:pt x="51466" y="131803"/>
                  </a:cubicBezTo>
                  <a:cubicBezTo>
                    <a:pt x="38251" y="132207"/>
                    <a:pt x="25252" y="128427"/>
                    <a:pt x="14313" y="120998"/>
                  </a:cubicBezTo>
                  <a:cubicBezTo>
                    <a:pt x="4098" y="113774"/>
                    <a:pt x="-731" y="102051"/>
                    <a:pt x="-172" y="85823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ED19BD9C-0B1B-45D3-A6D6-5DBB63A14919}"/>
                </a:ext>
              </a:extLst>
            </p:cNvPr>
            <p:cNvSpPr/>
            <p:nvPr/>
          </p:nvSpPr>
          <p:spPr>
            <a:xfrm>
              <a:off x="5551752" y="4300156"/>
              <a:ext cx="64509" cy="174129"/>
            </a:xfrm>
            <a:custGeom>
              <a:avLst/>
              <a:gdLst>
                <a:gd name="connsiteX0" fmla="*/ 44450 w 64509"/>
                <a:gd name="connsiteY0" fmla="*/ 154364 h 174129"/>
                <a:gd name="connsiteX1" fmla="*/ 40892 w 64509"/>
                <a:gd name="connsiteY1" fmla="*/ 171940 h 174129"/>
                <a:gd name="connsiteX2" fmla="*/ 25937 w 64509"/>
                <a:gd name="connsiteY2" fmla="*/ 173957 h 174129"/>
                <a:gd name="connsiteX3" fmla="*/ 5496 w 64509"/>
                <a:gd name="connsiteY3" fmla="*/ 167662 h 174129"/>
                <a:gd name="connsiteX4" fmla="*/ -200 w 64509"/>
                <a:gd name="connsiteY4" fmla="*/ 154723 h 174129"/>
                <a:gd name="connsiteX5" fmla="*/ 2888 w 64509"/>
                <a:gd name="connsiteY5" fmla="*/ 135604 h 174129"/>
                <a:gd name="connsiteX6" fmla="*/ 18197 w 64509"/>
                <a:gd name="connsiteY6" fmla="*/ 62336 h 174129"/>
                <a:gd name="connsiteX7" fmla="*/ 1242 w 64509"/>
                <a:gd name="connsiteY7" fmla="*/ 62336 h 174129"/>
                <a:gd name="connsiteX8" fmla="*/ 4684 w 64509"/>
                <a:gd name="connsiteY8" fmla="*/ 45710 h 174129"/>
                <a:gd name="connsiteX9" fmla="*/ 21683 w 64509"/>
                <a:gd name="connsiteY9" fmla="*/ 45710 h 174129"/>
                <a:gd name="connsiteX10" fmla="*/ 28213 w 64509"/>
                <a:gd name="connsiteY10" fmla="*/ 14719 h 174129"/>
                <a:gd name="connsiteX11" fmla="*/ 52781 w 64509"/>
                <a:gd name="connsiteY11" fmla="*/ -128 h 174129"/>
                <a:gd name="connsiteX12" fmla="*/ 43168 w 64509"/>
                <a:gd name="connsiteY12" fmla="*/ 45710 h 174129"/>
                <a:gd name="connsiteX13" fmla="*/ 64294 w 64509"/>
                <a:gd name="connsiteY13" fmla="*/ 45710 h 174129"/>
                <a:gd name="connsiteX14" fmla="*/ 60736 w 64509"/>
                <a:gd name="connsiteY14" fmla="*/ 62336 h 174129"/>
                <a:gd name="connsiteX15" fmla="*/ 39743 w 64509"/>
                <a:gd name="connsiteY15" fmla="*/ 62336 h 174129"/>
                <a:gd name="connsiteX16" fmla="*/ 25141 w 64509"/>
                <a:gd name="connsiteY16" fmla="*/ 132039 h 174129"/>
                <a:gd name="connsiteX17" fmla="*/ 22412 w 64509"/>
                <a:gd name="connsiteY17" fmla="*/ 147952 h 174129"/>
                <a:gd name="connsiteX18" fmla="*/ 24622 w 64509"/>
                <a:gd name="connsiteY18" fmla="*/ 153772 h 174129"/>
                <a:gd name="connsiteX19" fmla="*/ 31804 w 64509"/>
                <a:gd name="connsiteY19" fmla="*/ 155790 h 174129"/>
                <a:gd name="connsiteX20" fmla="*/ 44450 w 64509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509" h="174129">
                  <a:moveTo>
                    <a:pt x="44450" y="154364"/>
                  </a:moveTo>
                  <a:lnTo>
                    <a:pt x="40892" y="171940"/>
                  </a:lnTo>
                  <a:cubicBezTo>
                    <a:pt x="36014" y="173250"/>
                    <a:pt x="30986" y="173924"/>
                    <a:pt x="25937" y="173957"/>
                  </a:cubicBezTo>
                  <a:cubicBezTo>
                    <a:pt x="18595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6" y="141889"/>
                    <a:pt x="2888" y="135604"/>
                  </a:cubicBezTo>
                  <a:lnTo>
                    <a:pt x="18197" y="62336"/>
                  </a:lnTo>
                  <a:lnTo>
                    <a:pt x="1242" y="62336"/>
                  </a:lnTo>
                  <a:lnTo>
                    <a:pt x="4684" y="45710"/>
                  </a:lnTo>
                  <a:lnTo>
                    <a:pt x="21683" y="45710"/>
                  </a:lnTo>
                  <a:lnTo>
                    <a:pt x="28213" y="14719"/>
                  </a:lnTo>
                  <a:lnTo>
                    <a:pt x="52781" y="-128"/>
                  </a:lnTo>
                  <a:lnTo>
                    <a:pt x="43168" y="45710"/>
                  </a:lnTo>
                  <a:lnTo>
                    <a:pt x="64294" y="45710"/>
                  </a:lnTo>
                  <a:lnTo>
                    <a:pt x="60736" y="62336"/>
                  </a:lnTo>
                  <a:lnTo>
                    <a:pt x="39743" y="62336"/>
                  </a:lnTo>
                  <a:lnTo>
                    <a:pt x="25141" y="132039"/>
                  </a:lnTo>
                  <a:cubicBezTo>
                    <a:pt x="23904" y="137284"/>
                    <a:pt x="22992" y="142596"/>
                    <a:pt x="22412" y="147952"/>
                  </a:cubicBezTo>
                  <a:cubicBezTo>
                    <a:pt x="22274" y="150119"/>
                    <a:pt x="23081" y="152241"/>
                    <a:pt x="24622" y="153772"/>
                  </a:cubicBezTo>
                  <a:cubicBezTo>
                    <a:pt x="26688" y="155309"/>
                    <a:pt x="29240" y="156027"/>
                    <a:pt x="31804" y="155790"/>
                  </a:cubicBezTo>
                  <a:cubicBezTo>
                    <a:pt x="36063" y="155839"/>
                    <a:pt x="40312" y="155358"/>
                    <a:pt x="44450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9408BE28-AD05-4032-9485-B4FC883515F8}"/>
                </a:ext>
              </a:extLst>
            </p:cNvPr>
            <p:cNvSpPr/>
            <p:nvPr/>
          </p:nvSpPr>
          <p:spPr>
            <a:xfrm>
              <a:off x="5612533" y="4343141"/>
              <a:ext cx="93884" cy="128960"/>
            </a:xfrm>
            <a:custGeom>
              <a:avLst/>
              <a:gdLst>
                <a:gd name="connsiteX0" fmla="*/ -216 w 93884"/>
                <a:gd name="connsiteY0" fmla="*/ 128833 h 128960"/>
                <a:gd name="connsiteX1" fmla="*/ 26136 w 93884"/>
                <a:gd name="connsiteY1" fmla="*/ 2724 h 128960"/>
                <a:gd name="connsiteX2" fmla="*/ 45124 w 93884"/>
                <a:gd name="connsiteY2" fmla="*/ 2724 h 128960"/>
                <a:gd name="connsiteX3" fmla="*/ 39788 w 93884"/>
                <a:gd name="connsiteY3" fmla="*/ 28492 h 128960"/>
                <a:gd name="connsiteX4" fmla="*/ 58836 w 93884"/>
                <a:gd name="connsiteY4" fmla="*/ 6881 h 128960"/>
                <a:gd name="connsiteX5" fmla="*/ 77885 w 93884"/>
                <a:gd name="connsiteY5" fmla="*/ -128 h 128960"/>
                <a:gd name="connsiteX6" fmla="*/ 93669 w 93884"/>
                <a:gd name="connsiteY6" fmla="*/ 4504 h 128960"/>
                <a:gd name="connsiteX7" fmla="*/ 84890 w 93884"/>
                <a:gd name="connsiteY7" fmla="*/ 24452 h 128960"/>
                <a:gd name="connsiteX8" fmla="*/ 72664 w 93884"/>
                <a:gd name="connsiteY8" fmla="*/ 20417 h 128960"/>
                <a:gd name="connsiteX9" fmla="*/ 49516 w 93884"/>
                <a:gd name="connsiteY9" fmla="*/ 33002 h 128960"/>
                <a:gd name="connsiteX10" fmla="*/ 30882 w 93884"/>
                <a:gd name="connsiteY10" fmla="*/ 78248 h 128960"/>
                <a:gd name="connsiteX11" fmla="*/ 20203 w 93884"/>
                <a:gd name="connsiteY11" fmla="*/ 128833 h 12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84" h="128960">
                  <a:moveTo>
                    <a:pt x="-216" y="128833"/>
                  </a:moveTo>
                  <a:lnTo>
                    <a:pt x="26136" y="2724"/>
                  </a:lnTo>
                  <a:lnTo>
                    <a:pt x="45124" y="2724"/>
                  </a:lnTo>
                  <a:lnTo>
                    <a:pt x="39788" y="28492"/>
                  </a:lnTo>
                  <a:cubicBezTo>
                    <a:pt x="44903" y="20284"/>
                    <a:pt x="51339" y="12983"/>
                    <a:pt x="58836" y="6881"/>
                  </a:cubicBezTo>
                  <a:cubicBezTo>
                    <a:pt x="64234" y="2503"/>
                    <a:pt x="70935" y="38"/>
                    <a:pt x="77885" y="-128"/>
                  </a:cubicBezTo>
                  <a:cubicBezTo>
                    <a:pt x="83426" y="226"/>
                    <a:pt x="88818" y="1807"/>
                    <a:pt x="93669" y="4504"/>
                  </a:cubicBezTo>
                  <a:lnTo>
                    <a:pt x="84890" y="24452"/>
                  </a:lnTo>
                  <a:cubicBezTo>
                    <a:pt x="81354" y="21826"/>
                    <a:pt x="77067" y="20412"/>
                    <a:pt x="72664" y="20417"/>
                  </a:cubicBezTo>
                  <a:cubicBezTo>
                    <a:pt x="65145" y="20417"/>
                    <a:pt x="57433" y="24612"/>
                    <a:pt x="49516" y="33002"/>
                  </a:cubicBezTo>
                  <a:cubicBezTo>
                    <a:pt x="41600" y="41393"/>
                    <a:pt x="35390" y="56476"/>
                    <a:pt x="30882" y="78248"/>
                  </a:cubicBezTo>
                  <a:lnTo>
                    <a:pt x="20203" y="12883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2ED07D2F-98A6-4C4F-BB21-C403DF143095}"/>
                </a:ext>
              </a:extLst>
            </p:cNvPr>
            <p:cNvSpPr/>
            <p:nvPr/>
          </p:nvSpPr>
          <p:spPr>
            <a:xfrm>
              <a:off x="5691435" y="4298017"/>
              <a:ext cx="57803" cy="174084"/>
            </a:xfrm>
            <a:custGeom>
              <a:avLst/>
              <a:gdLst>
                <a:gd name="connsiteX0" fmla="*/ -216 w 57803"/>
                <a:gd name="connsiteY0" fmla="*/ 173957 h 174084"/>
                <a:gd name="connsiteX1" fmla="*/ 26136 w 57803"/>
                <a:gd name="connsiteY1" fmla="*/ 47849 h 174084"/>
                <a:gd name="connsiteX2" fmla="*/ 47616 w 57803"/>
                <a:gd name="connsiteY2" fmla="*/ 47849 h 174084"/>
                <a:gd name="connsiteX3" fmla="*/ 21269 w 57803"/>
                <a:gd name="connsiteY3" fmla="*/ 173957 h 174084"/>
                <a:gd name="connsiteX4" fmla="*/ 31119 w 57803"/>
                <a:gd name="connsiteY4" fmla="*/ 24220 h 174084"/>
                <a:gd name="connsiteX5" fmla="*/ 36224 w 57803"/>
                <a:gd name="connsiteY5" fmla="*/ -128 h 174084"/>
                <a:gd name="connsiteX6" fmla="*/ 57588 w 57803"/>
                <a:gd name="connsiteY6" fmla="*/ -128 h 174084"/>
                <a:gd name="connsiteX7" fmla="*/ 52483 w 57803"/>
                <a:gd name="connsiteY7" fmla="*/ 24220 h 17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03" h="174084">
                  <a:moveTo>
                    <a:pt x="-216" y="173957"/>
                  </a:moveTo>
                  <a:lnTo>
                    <a:pt x="26136" y="47849"/>
                  </a:lnTo>
                  <a:lnTo>
                    <a:pt x="47616" y="47849"/>
                  </a:lnTo>
                  <a:lnTo>
                    <a:pt x="21269" y="173957"/>
                  </a:lnTo>
                  <a:close/>
                  <a:moveTo>
                    <a:pt x="31119" y="24220"/>
                  </a:moveTo>
                  <a:lnTo>
                    <a:pt x="36224" y="-128"/>
                  </a:lnTo>
                  <a:lnTo>
                    <a:pt x="57588" y="-128"/>
                  </a:lnTo>
                  <a:lnTo>
                    <a:pt x="52483" y="24220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3EEDA1CD-72A8-43D4-ABB0-B0EA365832AF}"/>
                </a:ext>
              </a:extLst>
            </p:cNvPr>
            <p:cNvSpPr/>
            <p:nvPr/>
          </p:nvSpPr>
          <p:spPr>
            <a:xfrm>
              <a:off x="5749560" y="4343117"/>
              <a:ext cx="116762" cy="131848"/>
            </a:xfrm>
            <a:custGeom>
              <a:avLst/>
              <a:gdLst>
                <a:gd name="connsiteX0" fmla="*/ 87862 w 116762"/>
                <a:gd name="connsiteY0" fmla="*/ 85988 h 131848"/>
                <a:gd name="connsiteX1" fmla="*/ 108750 w 116762"/>
                <a:gd name="connsiteY1" fmla="*/ 88127 h 131848"/>
                <a:gd name="connsiteX2" fmla="*/ 88038 w 116762"/>
                <a:gd name="connsiteY2" fmla="*/ 117697 h 131848"/>
                <a:gd name="connsiteX3" fmla="*/ 49405 w 116762"/>
                <a:gd name="connsiteY3" fmla="*/ 131709 h 131848"/>
                <a:gd name="connsiteX4" fmla="*/ 23710 w 116762"/>
                <a:gd name="connsiteY4" fmla="*/ 125237 h 131848"/>
                <a:gd name="connsiteX5" fmla="*/ 5905 w 116762"/>
                <a:gd name="connsiteY5" fmla="*/ 106444 h 131848"/>
                <a:gd name="connsiteX6" fmla="*/ -205 w 116762"/>
                <a:gd name="connsiteY6" fmla="*/ 78300 h 131848"/>
                <a:gd name="connsiteX7" fmla="*/ 9347 w 116762"/>
                <a:gd name="connsiteY7" fmla="*/ 38222 h 131848"/>
                <a:gd name="connsiteX8" fmla="*/ 34096 w 116762"/>
                <a:gd name="connsiteY8" fmla="*/ 9364 h 131848"/>
                <a:gd name="connsiteX9" fmla="*/ 66973 w 116762"/>
                <a:gd name="connsiteY9" fmla="*/ -76 h 131848"/>
                <a:gd name="connsiteX10" fmla="*/ 102993 w 116762"/>
                <a:gd name="connsiteY10" fmla="*/ 13935 h 131848"/>
                <a:gd name="connsiteX11" fmla="*/ 116468 w 116762"/>
                <a:gd name="connsiteY11" fmla="*/ 52173 h 131848"/>
                <a:gd name="connsiteX12" fmla="*/ 114811 w 116762"/>
                <a:gd name="connsiteY12" fmla="*/ 71175 h 131848"/>
                <a:gd name="connsiteX13" fmla="*/ 21998 w 116762"/>
                <a:gd name="connsiteY13" fmla="*/ 71175 h 131848"/>
                <a:gd name="connsiteX14" fmla="*/ 21523 w 116762"/>
                <a:gd name="connsiteY14" fmla="*/ 77808 h 131848"/>
                <a:gd name="connsiteX15" fmla="*/ 29655 w 116762"/>
                <a:gd name="connsiteY15" fmla="*/ 104825 h 131848"/>
                <a:gd name="connsiteX16" fmla="*/ 49543 w 116762"/>
                <a:gd name="connsiteY16" fmla="*/ 114143 h 131848"/>
                <a:gd name="connsiteX17" fmla="*/ 71266 w 116762"/>
                <a:gd name="connsiteY17" fmla="*/ 106903 h 131848"/>
                <a:gd name="connsiteX18" fmla="*/ 87862 w 116762"/>
                <a:gd name="connsiteY18" fmla="*/ 85988 h 131848"/>
                <a:gd name="connsiteX19" fmla="*/ 25434 w 116762"/>
                <a:gd name="connsiteY19" fmla="*/ 54759 h 131848"/>
                <a:gd name="connsiteX20" fmla="*/ 96176 w 116762"/>
                <a:gd name="connsiteY20" fmla="*/ 54759 h 131848"/>
                <a:gd name="connsiteX21" fmla="*/ 96292 w 116762"/>
                <a:gd name="connsiteY21" fmla="*/ 50011 h 131848"/>
                <a:gd name="connsiteX22" fmla="*/ 88221 w 116762"/>
                <a:gd name="connsiteY22" fmla="*/ 25249 h 131848"/>
                <a:gd name="connsiteX23" fmla="*/ 67454 w 116762"/>
                <a:gd name="connsiteY23" fmla="*/ 16643 h 131848"/>
                <a:gd name="connsiteX24" fmla="*/ 42350 w 116762"/>
                <a:gd name="connsiteY24" fmla="*/ 26139 h 131848"/>
                <a:gd name="connsiteX25" fmla="*/ 25428 w 116762"/>
                <a:gd name="connsiteY25" fmla="*/ 5475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6762" h="131848">
                  <a:moveTo>
                    <a:pt x="87862" y="85988"/>
                  </a:moveTo>
                  <a:lnTo>
                    <a:pt x="108750" y="88127"/>
                  </a:lnTo>
                  <a:cubicBezTo>
                    <a:pt x="104866" y="99789"/>
                    <a:pt x="97668" y="110064"/>
                    <a:pt x="88038" y="117697"/>
                  </a:cubicBezTo>
                  <a:cubicBezTo>
                    <a:pt x="77343" y="127000"/>
                    <a:pt x="63576" y="131996"/>
                    <a:pt x="49405" y="131709"/>
                  </a:cubicBezTo>
                  <a:cubicBezTo>
                    <a:pt x="40428" y="131797"/>
                    <a:pt x="31577" y="129570"/>
                    <a:pt x="23710" y="125237"/>
                  </a:cubicBezTo>
                  <a:cubicBezTo>
                    <a:pt x="15959" y="120981"/>
                    <a:pt x="9739" y="114414"/>
                    <a:pt x="5905" y="106444"/>
                  </a:cubicBezTo>
                  <a:cubicBezTo>
                    <a:pt x="1706" y="97667"/>
                    <a:pt x="-382" y="88028"/>
                    <a:pt x="-205" y="78300"/>
                  </a:cubicBezTo>
                  <a:cubicBezTo>
                    <a:pt x="-172" y="64382"/>
                    <a:pt x="3098" y="50658"/>
                    <a:pt x="9347" y="38222"/>
                  </a:cubicBezTo>
                  <a:cubicBezTo>
                    <a:pt x="14700" y="26449"/>
                    <a:pt x="23279" y="16444"/>
                    <a:pt x="34096" y="9364"/>
                  </a:cubicBezTo>
                  <a:cubicBezTo>
                    <a:pt x="43936" y="3152"/>
                    <a:pt x="55338" y="-120"/>
                    <a:pt x="66973" y="-76"/>
                  </a:cubicBezTo>
                  <a:cubicBezTo>
                    <a:pt x="80420" y="-701"/>
                    <a:pt x="93502" y="4390"/>
                    <a:pt x="102993" y="13935"/>
                  </a:cubicBezTo>
                  <a:cubicBezTo>
                    <a:pt x="112385" y="24382"/>
                    <a:pt x="117236" y="38139"/>
                    <a:pt x="116468" y="52173"/>
                  </a:cubicBezTo>
                  <a:cubicBezTo>
                    <a:pt x="116451" y="58540"/>
                    <a:pt x="115899" y="64896"/>
                    <a:pt x="114811" y="71175"/>
                  </a:cubicBezTo>
                  <a:lnTo>
                    <a:pt x="21998" y="71175"/>
                  </a:lnTo>
                  <a:cubicBezTo>
                    <a:pt x="21699" y="73375"/>
                    <a:pt x="21539" y="75591"/>
                    <a:pt x="21523" y="77808"/>
                  </a:cubicBezTo>
                  <a:cubicBezTo>
                    <a:pt x="20854" y="87502"/>
                    <a:pt x="23743" y="97109"/>
                    <a:pt x="29655" y="104825"/>
                  </a:cubicBezTo>
                  <a:cubicBezTo>
                    <a:pt x="34533" y="110783"/>
                    <a:pt x="41848" y="114210"/>
                    <a:pt x="49543" y="114143"/>
                  </a:cubicBezTo>
                  <a:cubicBezTo>
                    <a:pt x="57349" y="114000"/>
                    <a:pt x="64929" y="111474"/>
                    <a:pt x="71266" y="106903"/>
                  </a:cubicBezTo>
                  <a:cubicBezTo>
                    <a:pt x="78696" y="101680"/>
                    <a:pt x="84464" y="94417"/>
                    <a:pt x="87862" y="85988"/>
                  </a:cubicBezTo>
                  <a:close/>
                  <a:moveTo>
                    <a:pt x="25434" y="54759"/>
                  </a:moveTo>
                  <a:lnTo>
                    <a:pt x="96176" y="54759"/>
                  </a:lnTo>
                  <a:cubicBezTo>
                    <a:pt x="96253" y="52548"/>
                    <a:pt x="96292" y="50962"/>
                    <a:pt x="96292" y="50011"/>
                  </a:cubicBezTo>
                  <a:cubicBezTo>
                    <a:pt x="96900" y="41024"/>
                    <a:pt x="94005" y="32153"/>
                    <a:pt x="88221" y="25249"/>
                  </a:cubicBezTo>
                  <a:cubicBezTo>
                    <a:pt x="82862" y="19518"/>
                    <a:pt x="75293" y="16384"/>
                    <a:pt x="67454" y="16643"/>
                  </a:cubicBezTo>
                  <a:cubicBezTo>
                    <a:pt x="58211" y="16666"/>
                    <a:pt x="49295" y="20037"/>
                    <a:pt x="42350" y="26139"/>
                  </a:cubicBezTo>
                  <a:cubicBezTo>
                    <a:pt x="33992" y="33783"/>
                    <a:pt x="28102" y="43749"/>
                    <a:pt x="25428" y="54759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6D96F9F2-1E5C-4E5C-A7E9-9C9A127303EB}"/>
                </a:ext>
              </a:extLst>
            </p:cNvPr>
            <p:cNvSpPr/>
            <p:nvPr/>
          </p:nvSpPr>
          <p:spPr>
            <a:xfrm>
              <a:off x="5881006" y="4343050"/>
              <a:ext cx="111839" cy="131960"/>
            </a:xfrm>
            <a:custGeom>
              <a:avLst/>
              <a:gdLst>
                <a:gd name="connsiteX0" fmla="*/ -173 w 111839"/>
                <a:gd name="connsiteY0" fmla="*/ 85823 h 131960"/>
                <a:gd name="connsiteX1" fmla="*/ 21313 w 111839"/>
                <a:gd name="connsiteY1" fmla="*/ 84513 h 131960"/>
                <a:gd name="connsiteX2" fmla="*/ 24158 w 111839"/>
                <a:gd name="connsiteY2" fmla="*/ 100309 h 131960"/>
                <a:gd name="connsiteX3" fmla="*/ 34654 w 111839"/>
                <a:gd name="connsiteY3" fmla="*/ 110994 h 131960"/>
                <a:gd name="connsiteX4" fmla="*/ 52515 w 111839"/>
                <a:gd name="connsiteY4" fmla="*/ 115150 h 131960"/>
                <a:gd name="connsiteX5" fmla="*/ 73879 w 111839"/>
                <a:gd name="connsiteY5" fmla="*/ 109451 h 131960"/>
                <a:gd name="connsiteX6" fmla="*/ 81000 w 111839"/>
                <a:gd name="connsiteY6" fmla="*/ 96031 h 131960"/>
                <a:gd name="connsiteX7" fmla="*/ 76730 w 111839"/>
                <a:gd name="connsiteY7" fmla="*/ 85464 h 131960"/>
                <a:gd name="connsiteX8" fmla="*/ 55305 w 111839"/>
                <a:gd name="connsiteY8" fmla="*/ 73171 h 131960"/>
                <a:gd name="connsiteX9" fmla="*/ 33522 w 111839"/>
                <a:gd name="connsiteY9" fmla="*/ 62901 h 131960"/>
                <a:gd name="connsiteX10" fmla="*/ 21534 w 111839"/>
                <a:gd name="connsiteY10" fmla="*/ 51443 h 131960"/>
                <a:gd name="connsiteX11" fmla="*/ 17501 w 111839"/>
                <a:gd name="connsiteY11" fmla="*/ 36299 h 131960"/>
                <a:gd name="connsiteX12" fmla="*/ 29367 w 111839"/>
                <a:gd name="connsiteY12" fmla="*/ 10653 h 131960"/>
                <a:gd name="connsiteX13" fmla="*/ 62603 w 111839"/>
                <a:gd name="connsiteY13" fmla="*/ -37 h 131960"/>
                <a:gd name="connsiteX14" fmla="*/ 98745 w 111839"/>
                <a:gd name="connsiteY14" fmla="*/ 10951 h 131960"/>
                <a:gd name="connsiteX15" fmla="*/ 111623 w 111839"/>
                <a:gd name="connsiteY15" fmla="*/ 39864 h 131960"/>
                <a:gd name="connsiteX16" fmla="*/ 90629 w 111839"/>
                <a:gd name="connsiteY16" fmla="*/ 41290 h 131960"/>
                <a:gd name="connsiteX17" fmla="*/ 82558 w 111839"/>
                <a:gd name="connsiteY17" fmla="*/ 23238 h 131960"/>
                <a:gd name="connsiteX18" fmla="*/ 61078 w 111839"/>
                <a:gd name="connsiteY18" fmla="*/ 16606 h 131960"/>
                <a:gd name="connsiteX19" fmla="*/ 43748 w 111839"/>
                <a:gd name="connsiteY19" fmla="*/ 21713 h 131960"/>
                <a:gd name="connsiteX20" fmla="*/ 37577 w 111839"/>
                <a:gd name="connsiteY20" fmla="*/ 32767 h 131960"/>
                <a:gd name="connsiteX21" fmla="*/ 42919 w 111839"/>
                <a:gd name="connsiteY21" fmla="*/ 43219 h 131960"/>
                <a:gd name="connsiteX22" fmla="*/ 61316 w 111839"/>
                <a:gd name="connsiteY22" fmla="*/ 52715 h 131960"/>
                <a:gd name="connsiteX23" fmla="*/ 92414 w 111839"/>
                <a:gd name="connsiteY23" fmla="*/ 69578 h 131960"/>
                <a:gd name="connsiteX24" fmla="*/ 102618 w 111839"/>
                <a:gd name="connsiteY24" fmla="*/ 93566 h 131960"/>
                <a:gd name="connsiteX25" fmla="*/ 96861 w 111839"/>
                <a:gd name="connsiteY25" fmla="*/ 111972 h 131960"/>
                <a:gd name="connsiteX26" fmla="*/ 79298 w 111839"/>
                <a:gd name="connsiteY26" fmla="*/ 126398 h 131960"/>
                <a:gd name="connsiteX27" fmla="*/ 51466 w 111839"/>
                <a:gd name="connsiteY27" fmla="*/ 131803 h 131960"/>
                <a:gd name="connsiteX28" fmla="*/ 14313 w 111839"/>
                <a:gd name="connsiteY28" fmla="*/ 120998 h 131960"/>
                <a:gd name="connsiteX29" fmla="*/ -173 w 111839"/>
                <a:gd name="connsiteY29" fmla="*/ 85823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1839" h="131960">
                  <a:moveTo>
                    <a:pt x="-173" y="85823"/>
                  </a:moveTo>
                  <a:lnTo>
                    <a:pt x="21313" y="84513"/>
                  </a:lnTo>
                  <a:cubicBezTo>
                    <a:pt x="21169" y="89918"/>
                    <a:pt x="22136" y="95296"/>
                    <a:pt x="24158" y="100309"/>
                  </a:cubicBezTo>
                  <a:cubicBezTo>
                    <a:pt x="26340" y="104958"/>
                    <a:pt x="30041" y="108727"/>
                    <a:pt x="34654" y="110994"/>
                  </a:cubicBezTo>
                  <a:cubicBezTo>
                    <a:pt x="40163" y="113862"/>
                    <a:pt x="46306" y="115294"/>
                    <a:pt x="52515" y="115150"/>
                  </a:cubicBezTo>
                  <a:cubicBezTo>
                    <a:pt x="60073" y="115703"/>
                    <a:pt x="67598" y="113696"/>
                    <a:pt x="73879" y="109451"/>
                  </a:cubicBezTo>
                  <a:cubicBezTo>
                    <a:pt x="78254" y="106367"/>
                    <a:pt x="80895" y="101382"/>
                    <a:pt x="81000" y="96031"/>
                  </a:cubicBezTo>
                  <a:cubicBezTo>
                    <a:pt x="80917" y="92102"/>
                    <a:pt x="79398" y="88343"/>
                    <a:pt x="76730" y="85464"/>
                  </a:cubicBezTo>
                  <a:cubicBezTo>
                    <a:pt x="70404" y="80085"/>
                    <a:pt x="63139" y="75918"/>
                    <a:pt x="55305" y="73171"/>
                  </a:cubicBezTo>
                  <a:cubicBezTo>
                    <a:pt x="47847" y="70181"/>
                    <a:pt x="40571" y="66754"/>
                    <a:pt x="33522" y="62901"/>
                  </a:cubicBezTo>
                  <a:cubicBezTo>
                    <a:pt x="28671" y="60094"/>
                    <a:pt x="24561" y="56164"/>
                    <a:pt x="21534" y="51443"/>
                  </a:cubicBezTo>
                  <a:cubicBezTo>
                    <a:pt x="18793" y="46873"/>
                    <a:pt x="17396" y="41627"/>
                    <a:pt x="17501" y="36299"/>
                  </a:cubicBezTo>
                  <a:cubicBezTo>
                    <a:pt x="17456" y="26411"/>
                    <a:pt x="21804" y="17020"/>
                    <a:pt x="29367" y="10653"/>
                  </a:cubicBezTo>
                  <a:cubicBezTo>
                    <a:pt x="38710" y="3036"/>
                    <a:pt x="50576" y="-778"/>
                    <a:pt x="62603" y="-37"/>
                  </a:cubicBezTo>
                  <a:cubicBezTo>
                    <a:pt x="78442" y="-37"/>
                    <a:pt x="90486" y="3628"/>
                    <a:pt x="98745" y="10951"/>
                  </a:cubicBezTo>
                  <a:cubicBezTo>
                    <a:pt x="107015" y="18269"/>
                    <a:pt x="111711" y="28815"/>
                    <a:pt x="111623" y="39864"/>
                  </a:cubicBezTo>
                  <a:lnTo>
                    <a:pt x="90629" y="41290"/>
                  </a:lnTo>
                  <a:cubicBezTo>
                    <a:pt x="90635" y="34398"/>
                    <a:pt x="87696" y="27831"/>
                    <a:pt x="82558" y="23238"/>
                  </a:cubicBezTo>
                  <a:cubicBezTo>
                    <a:pt x="76453" y="18468"/>
                    <a:pt x="68807" y="16108"/>
                    <a:pt x="61078" y="16606"/>
                  </a:cubicBezTo>
                  <a:cubicBezTo>
                    <a:pt x="54880" y="16224"/>
                    <a:pt x="48748" y="18032"/>
                    <a:pt x="43748" y="21713"/>
                  </a:cubicBezTo>
                  <a:cubicBezTo>
                    <a:pt x="40096" y="24250"/>
                    <a:pt x="37820" y="28329"/>
                    <a:pt x="37577" y="32767"/>
                  </a:cubicBezTo>
                  <a:cubicBezTo>
                    <a:pt x="37654" y="36890"/>
                    <a:pt x="39627" y="40743"/>
                    <a:pt x="42919" y="43219"/>
                  </a:cubicBezTo>
                  <a:cubicBezTo>
                    <a:pt x="48659" y="47088"/>
                    <a:pt x="54836" y="50277"/>
                    <a:pt x="61316" y="52715"/>
                  </a:cubicBezTo>
                  <a:cubicBezTo>
                    <a:pt x="72437" y="56822"/>
                    <a:pt x="82906" y="62498"/>
                    <a:pt x="92414" y="69578"/>
                  </a:cubicBezTo>
                  <a:cubicBezTo>
                    <a:pt x="99054" y="75769"/>
                    <a:pt x="102761" y="84485"/>
                    <a:pt x="102618" y="93566"/>
                  </a:cubicBezTo>
                  <a:cubicBezTo>
                    <a:pt x="102524" y="100133"/>
                    <a:pt x="100524" y="106528"/>
                    <a:pt x="96861" y="111972"/>
                  </a:cubicBezTo>
                  <a:cubicBezTo>
                    <a:pt x="92541" y="118395"/>
                    <a:pt x="86436" y="123408"/>
                    <a:pt x="79298" y="126398"/>
                  </a:cubicBezTo>
                  <a:cubicBezTo>
                    <a:pt x="70520" y="130184"/>
                    <a:pt x="61023" y="132030"/>
                    <a:pt x="51466" y="131803"/>
                  </a:cubicBezTo>
                  <a:cubicBezTo>
                    <a:pt x="38251" y="132207"/>
                    <a:pt x="25252" y="128427"/>
                    <a:pt x="14313" y="120998"/>
                  </a:cubicBezTo>
                  <a:cubicBezTo>
                    <a:pt x="4098" y="113774"/>
                    <a:pt x="-730" y="102051"/>
                    <a:pt x="-173" y="85823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A205CFA3-9518-499D-B45B-AD9D484F1E06}"/>
                </a:ext>
              </a:extLst>
            </p:cNvPr>
            <p:cNvSpPr/>
            <p:nvPr/>
          </p:nvSpPr>
          <p:spPr>
            <a:xfrm>
              <a:off x="6071217" y="4300156"/>
              <a:ext cx="64482" cy="174129"/>
            </a:xfrm>
            <a:custGeom>
              <a:avLst/>
              <a:gdLst>
                <a:gd name="connsiteX0" fmla="*/ 44450 w 64482"/>
                <a:gd name="connsiteY0" fmla="*/ 154364 h 174129"/>
                <a:gd name="connsiteX1" fmla="*/ 40892 w 64482"/>
                <a:gd name="connsiteY1" fmla="*/ 171940 h 174129"/>
                <a:gd name="connsiteX2" fmla="*/ 25937 w 64482"/>
                <a:gd name="connsiteY2" fmla="*/ 173957 h 174129"/>
                <a:gd name="connsiteX3" fmla="*/ 5496 w 64482"/>
                <a:gd name="connsiteY3" fmla="*/ 167662 h 174129"/>
                <a:gd name="connsiteX4" fmla="*/ -200 w 64482"/>
                <a:gd name="connsiteY4" fmla="*/ 154723 h 174129"/>
                <a:gd name="connsiteX5" fmla="*/ 2888 w 64482"/>
                <a:gd name="connsiteY5" fmla="*/ 135604 h 174129"/>
                <a:gd name="connsiteX6" fmla="*/ 18213 w 64482"/>
                <a:gd name="connsiteY6" fmla="*/ 62336 h 174129"/>
                <a:gd name="connsiteX7" fmla="*/ 1242 w 64482"/>
                <a:gd name="connsiteY7" fmla="*/ 62336 h 174129"/>
                <a:gd name="connsiteX8" fmla="*/ 4684 w 64482"/>
                <a:gd name="connsiteY8" fmla="*/ 45710 h 174129"/>
                <a:gd name="connsiteX9" fmla="*/ 21655 w 64482"/>
                <a:gd name="connsiteY9" fmla="*/ 45710 h 174129"/>
                <a:gd name="connsiteX10" fmla="*/ 28185 w 64482"/>
                <a:gd name="connsiteY10" fmla="*/ 14719 h 174129"/>
                <a:gd name="connsiteX11" fmla="*/ 52753 w 64482"/>
                <a:gd name="connsiteY11" fmla="*/ -128 h 174129"/>
                <a:gd name="connsiteX12" fmla="*/ 43140 w 64482"/>
                <a:gd name="connsiteY12" fmla="*/ 45710 h 174129"/>
                <a:gd name="connsiteX13" fmla="*/ 64266 w 64482"/>
                <a:gd name="connsiteY13" fmla="*/ 45710 h 174129"/>
                <a:gd name="connsiteX14" fmla="*/ 60708 w 64482"/>
                <a:gd name="connsiteY14" fmla="*/ 62336 h 174129"/>
                <a:gd name="connsiteX15" fmla="*/ 39715 w 64482"/>
                <a:gd name="connsiteY15" fmla="*/ 62336 h 174129"/>
                <a:gd name="connsiteX16" fmla="*/ 25114 w 64482"/>
                <a:gd name="connsiteY16" fmla="*/ 132039 h 174129"/>
                <a:gd name="connsiteX17" fmla="*/ 22384 w 64482"/>
                <a:gd name="connsiteY17" fmla="*/ 147952 h 174129"/>
                <a:gd name="connsiteX18" fmla="*/ 24594 w 64482"/>
                <a:gd name="connsiteY18" fmla="*/ 153772 h 174129"/>
                <a:gd name="connsiteX19" fmla="*/ 31776 w 64482"/>
                <a:gd name="connsiteY19" fmla="*/ 155790 h 174129"/>
                <a:gd name="connsiteX20" fmla="*/ 44450 w 64482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82" h="174129">
                  <a:moveTo>
                    <a:pt x="44450" y="154364"/>
                  </a:moveTo>
                  <a:lnTo>
                    <a:pt x="40892" y="171940"/>
                  </a:lnTo>
                  <a:cubicBezTo>
                    <a:pt x="36013" y="173250"/>
                    <a:pt x="30986" y="173924"/>
                    <a:pt x="25937" y="173957"/>
                  </a:cubicBezTo>
                  <a:cubicBezTo>
                    <a:pt x="18595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5" y="141889"/>
                    <a:pt x="2888" y="135604"/>
                  </a:cubicBezTo>
                  <a:lnTo>
                    <a:pt x="18213" y="62336"/>
                  </a:lnTo>
                  <a:lnTo>
                    <a:pt x="1242" y="62336"/>
                  </a:lnTo>
                  <a:lnTo>
                    <a:pt x="4684" y="45710"/>
                  </a:lnTo>
                  <a:lnTo>
                    <a:pt x="21655" y="45710"/>
                  </a:lnTo>
                  <a:lnTo>
                    <a:pt x="28185" y="14719"/>
                  </a:lnTo>
                  <a:lnTo>
                    <a:pt x="52753" y="-128"/>
                  </a:lnTo>
                  <a:lnTo>
                    <a:pt x="43140" y="45710"/>
                  </a:lnTo>
                  <a:lnTo>
                    <a:pt x="64266" y="45710"/>
                  </a:lnTo>
                  <a:lnTo>
                    <a:pt x="60708" y="62336"/>
                  </a:lnTo>
                  <a:lnTo>
                    <a:pt x="39715" y="62336"/>
                  </a:lnTo>
                  <a:lnTo>
                    <a:pt x="25114" y="132039"/>
                  </a:lnTo>
                  <a:cubicBezTo>
                    <a:pt x="23876" y="137284"/>
                    <a:pt x="22964" y="142596"/>
                    <a:pt x="22384" y="147952"/>
                  </a:cubicBezTo>
                  <a:cubicBezTo>
                    <a:pt x="22241" y="150119"/>
                    <a:pt x="23047" y="152246"/>
                    <a:pt x="24594" y="153772"/>
                  </a:cubicBezTo>
                  <a:cubicBezTo>
                    <a:pt x="26655" y="155309"/>
                    <a:pt x="29213" y="156027"/>
                    <a:pt x="31776" y="155790"/>
                  </a:cubicBezTo>
                  <a:cubicBezTo>
                    <a:pt x="36041" y="155839"/>
                    <a:pt x="40301" y="155364"/>
                    <a:pt x="44450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AFF49087-4993-4FFC-8E5F-8156749F9E4E}"/>
                </a:ext>
              </a:extLst>
            </p:cNvPr>
            <p:cNvSpPr/>
            <p:nvPr/>
          </p:nvSpPr>
          <p:spPr>
            <a:xfrm>
              <a:off x="6131997" y="4297995"/>
              <a:ext cx="120471" cy="174134"/>
            </a:xfrm>
            <a:custGeom>
              <a:avLst/>
              <a:gdLst>
                <a:gd name="connsiteX0" fmla="*/ -216 w 120471"/>
                <a:gd name="connsiteY0" fmla="*/ 173979 h 174134"/>
                <a:gd name="connsiteX1" fmla="*/ 36097 w 120471"/>
                <a:gd name="connsiteY1" fmla="*/ -128 h 174134"/>
                <a:gd name="connsiteX2" fmla="*/ 57582 w 120471"/>
                <a:gd name="connsiteY2" fmla="*/ -128 h 174134"/>
                <a:gd name="connsiteX3" fmla="*/ 43693 w 120471"/>
                <a:gd name="connsiteY3" fmla="*/ 66752 h 174134"/>
                <a:gd name="connsiteX4" fmla="*/ 66007 w 120471"/>
                <a:gd name="connsiteY4" fmla="*/ 50065 h 174134"/>
                <a:gd name="connsiteX5" fmla="*/ 87255 w 120471"/>
                <a:gd name="connsiteY5" fmla="*/ 45019 h 174134"/>
                <a:gd name="connsiteX6" fmla="*/ 111563 w 120471"/>
                <a:gd name="connsiteY6" fmla="*/ 53271 h 174134"/>
                <a:gd name="connsiteX7" fmla="*/ 120231 w 120471"/>
                <a:gd name="connsiteY7" fmla="*/ 75065 h 174134"/>
                <a:gd name="connsiteX8" fmla="*/ 116430 w 120471"/>
                <a:gd name="connsiteY8" fmla="*/ 99528 h 174134"/>
                <a:gd name="connsiteX9" fmla="*/ 100884 w 120471"/>
                <a:gd name="connsiteY9" fmla="*/ 173979 h 174134"/>
                <a:gd name="connsiteX10" fmla="*/ 79399 w 120471"/>
                <a:gd name="connsiteY10" fmla="*/ 173979 h 174134"/>
                <a:gd name="connsiteX11" fmla="*/ 95420 w 120471"/>
                <a:gd name="connsiteY11" fmla="*/ 97627 h 174134"/>
                <a:gd name="connsiteX12" fmla="*/ 98862 w 120471"/>
                <a:gd name="connsiteY12" fmla="*/ 76728 h 174134"/>
                <a:gd name="connsiteX13" fmla="*/ 94586 w 120471"/>
                <a:gd name="connsiteY13" fmla="*/ 66630 h 174134"/>
                <a:gd name="connsiteX14" fmla="*/ 82244 w 120471"/>
                <a:gd name="connsiteY14" fmla="*/ 62711 h 174134"/>
                <a:gd name="connsiteX15" fmla="*/ 43495 w 120471"/>
                <a:gd name="connsiteY15" fmla="*/ 85572 h 174134"/>
                <a:gd name="connsiteX16" fmla="*/ 32512 w 120471"/>
                <a:gd name="connsiteY16" fmla="*/ 119841 h 174134"/>
                <a:gd name="connsiteX17" fmla="*/ 21236 w 120471"/>
                <a:gd name="connsiteY17" fmla="*/ 174007 h 174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471" h="174134">
                  <a:moveTo>
                    <a:pt x="-216" y="173979"/>
                  </a:moveTo>
                  <a:lnTo>
                    <a:pt x="36097" y="-128"/>
                  </a:lnTo>
                  <a:lnTo>
                    <a:pt x="57582" y="-128"/>
                  </a:lnTo>
                  <a:lnTo>
                    <a:pt x="43693" y="66752"/>
                  </a:lnTo>
                  <a:cubicBezTo>
                    <a:pt x="50229" y="60075"/>
                    <a:pt x="57754" y="54448"/>
                    <a:pt x="66007" y="50065"/>
                  </a:cubicBezTo>
                  <a:cubicBezTo>
                    <a:pt x="72609" y="46771"/>
                    <a:pt x="79879" y="45046"/>
                    <a:pt x="87255" y="45019"/>
                  </a:cubicBezTo>
                  <a:cubicBezTo>
                    <a:pt x="96127" y="44472"/>
                    <a:pt x="104856" y="47434"/>
                    <a:pt x="111563" y="53271"/>
                  </a:cubicBezTo>
                  <a:cubicBezTo>
                    <a:pt x="117419" y="58969"/>
                    <a:pt x="120573" y="66896"/>
                    <a:pt x="120231" y="75065"/>
                  </a:cubicBezTo>
                  <a:cubicBezTo>
                    <a:pt x="119678" y="83317"/>
                    <a:pt x="118408" y="91502"/>
                    <a:pt x="116430" y="99528"/>
                  </a:cubicBezTo>
                  <a:lnTo>
                    <a:pt x="100884" y="173979"/>
                  </a:lnTo>
                  <a:lnTo>
                    <a:pt x="79399" y="173979"/>
                  </a:lnTo>
                  <a:lnTo>
                    <a:pt x="95420" y="97627"/>
                  </a:lnTo>
                  <a:cubicBezTo>
                    <a:pt x="97072" y="90751"/>
                    <a:pt x="98221" y="83770"/>
                    <a:pt x="98862" y="76728"/>
                  </a:cubicBezTo>
                  <a:cubicBezTo>
                    <a:pt x="98983" y="72898"/>
                    <a:pt x="97420" y="69206"/>
                    <a:pt x="94586" y="66630"/>
                  </a:cubicBezTo>
                  <a:cubicBezTo>
                    <a:pt x="91116" y="63811"/>
                    <a:pt x="86708" y="62407"/>
                    <a:pt x="82244" y="62711"/>
                  </a:cubicBezTo>
                  <a:cubicBezTo>
                    <a:pt x="66178" y="62883"/>
                    <a:pt x="51422" y="71594"/>
                    <a:pt x="43495" y="85572"/>
                  </a:cubicBezTo>
                  <a:cubicBezTo>
                    <a:pt x="38241" y="96422"/>
                    <a:pt x="34539" y="107957"/>
                    <a:pt x="32512" y="119841"/>
                  </a:cubicBezTo>
                  <a:lnTo>
                    <a:pt x="21236" y="174007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F37D8F18-7EDA-40D8-8442-27C2B2F854DA}"/>
                </a:ext>
              </a:extLst>
            </p:cNvPr>
            <p:cNvSpPr/>
            <p:nvPr/>
          </p:nvSpPr>
          <p:spPr>
            <a:xfrm>
              <a:off x="6268545" y="4343080"/>
              <a:ext cx="117273" cy="131913"/>
            </a:xfrm>
            <a:custGeom>
              <a:avLst/>
              <a:gdLst>
                <a:gd name="connsiteX0" fmla="*/ 82197 w 117273"/>
                <a:gd name="connsiteY0" fmla="*/ 113219 h 131913"/>
                <a:gd name="connsiteX1" fmla="*/ 60711 w 117273"/>
                <a:gd name="connsiteY1" fmla="*/ 127292 h 131913"/>
                <a:gd name="connsiteX2" fmla="*/ 38613 w 117273"/>
                <a:gd name="connsiteY2" fmla="*/ 131746 h 131913"/>
                <a:gd name="connsiteX3" fmla="*/ 10482 w 117273"/>
                <a:gd name="connsiteY3" fmla="*/ 121477 h 131913"/>
                <a:gd name="connsiteX4" fmla="*/ -197 w 117273"/>
                <a:gd name="connsiteY4" fmla="*/ 95173 h 131913"/>
                <a:gd name="connsiteX5" fmla="*/ 4610 w 117273"/>
                <a:gd name="connsiteY5" fmla="*/ 76469 h 131913"/>
                <a:gd name="connsiteX6" fmla="*/ 17371 w 117273"/>
                <a:gd name="connsiteY6" fmla="*/ 63408 h 131913"/>
                <a:gd name="connsiteX7" fmla="*/ 36834 w 117273"/>
                <a:gd name="connsiteY7" fmla="*/ 56339 h 131913"/>
                <a:gd name="connsiteX8" fmla="*/ 64314 w 117273"/>
                <a:gd name="connsiteY8" fmla="*/ 54084 h 131913"/>
                <a:gd name="connsiteX9" fmla="*/ 93334 w 117273"/>
                <a:gd name="connsiteY9" fmla="*/ 49811 h 131913"/>
                <a:gd name="connsiteX10" fmla="*/ 95826 w 117273"/>
                <a:gd name="connsiteY10" fmla="*/ 35203 h 131913"/>
                <a:gd name="connsiteX11" fmla="*/ 90362 w 117273"/>
                <a:gd name="connsiteY11" fmla="*/ 23446 h 131913"/>
                <a:gd name="connsiteX12" fmla="*/ 68523 w 117273"/>
                <a:gd name="connsiteY12" fmla="*/ 17510 h 131913"/>
                <a:gd name="connsiteX13" fmla="*/ 46386 w 117273"/>
                <a:gd name="connsiteY13" fmla="*/ 23507 h 131913"/>
                <a:gd name="connsiteX14" fmla="*/ 33868 w 117273"/>
                <a:gd name="connsiteY14" fmla="*/ 40548 h 131913"/>
                <a:gd name="connsiteX15" fmla="*/ 12145 w 117273"/>
                <a:gd name="connsiteY15" fmla="*/ 38646 h 131913"/>
                <a:gd name="connsiteX16" fmla="*/ 33216 w 117273"/>
                <a:gd name="connsiteY16" fmla="*/ 9905 h 131913"/>
                <a:gd name="connsiteX17" fmla="*/ 69595 w 117273"/>
                <a:gd name="connsiteY17" fmla="*/ -44 h 131913"/>
                <a:gd name="connsiteX18" fmla="*/ 106610 w 117273"/>
                <a:gd name="connsiteY18" fmla="*/ 11121 h 131913"/>
                <a:gd name="connsiteX19" fmla="*/ 117051 w 117273"/>
                <a:gd name="connsiteY19" fmla="*/ 32732 h 131913"/>
                <a:gd name="connsiteX20" fmla="*/ 114084 w 117273"/>
                <a:gd name="connsiteY20" fmla="*/ 56123 h 131913"/>
                <a:gd name="connsiteX21" fmla="*/ 107085 w 117273"/>
                <a:gd name="connsiteY21" fmla="*/ 87474 h 131913"/>
                <a:gd name="connsiteX22" fmla="*/ 103770 w 117273"/>
                <a:gd name="connsiteY22" fmla="*/ 111793 h 131913"/>
                <a:gd name="connsiteX23" fmla="*/ 106383 w 117273"/>
                <a:gd name="connsiteY23" fmla="*/ 128889 h 131913"/>
                <a:gd name="connsiteX24" fmla="*/ 84683 w 117273"/>
                <a:gd name="connsiteY24" fmla="*/ 128889 h 131913"/>
                <a:gd name="connsiteX25" fmla="*/ 82197 w 117273"/>
                <a:gd name="connsiteY25" fmla="*/ 113219 h 131913"/>
                <a:gd name="connsiteX26" fmla="*/ 90146 w 117273"/>
                <a:gd name="connsiteY26" fmla="*/ 65011 h 131913"/>
                <a:gd name="connsiteX27" fmla="*/ 80473 w 117273"/>
                <a:gd name="connsiteY27" fmla="*/ 67742 h 131913"/>
                <a:gd name="connsiteX28" fmla="*/ 63203 w 117273"/>
                <a:gd name="connsiteY28" fmla="*/ 69759 h 131913"/>
                <a:gd name="connsiteX29" fmla="*/ 36735 w 117273"/>
                <a:gd name="connsiteY29" fmla="*/ 73976 h 131913"/>
                <a:gd name="connsiteX30" fmla="*/ 25133 w 117273"/>
                <a:gd name="connsiteY30" fmla="*/ 82107 h 131913"/>
                <a:gd name="connsiteX31" fmla="*/ 21216 w 117273"/>
                <a:gd name="connsiteY31" fmla="*/ 94460 h 131913"/>
                <a:gd name="connsiteX32" fmla="*/ 27448 w 117273"/>
                <a:gd name="connsiteY32" fmla="*/ 109301 h 131913"/>
                <a:gd name="connsiteX33" fmla="*/ 45193 w 117273"/>
                <a:gd name="connsiteY33" fmla="*/ 115121 h 131913"/>
                <a:gd name="connsiteX34" fmla="*/ 81274 w 117273"/>
                <a:gd name="connsiteY34" fmla="*/ 93747 h 131913"/>
                <a:gd name="connsiteX35" fmla="*/ 90141 w 117273"/>
                <a:gd name="connsiteY35" fmla="*/ 65011 h 13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273" h="131913">
                  <a:moveTo>
                    <a:pt x="82197" y="113219"/>
                  </a:moveTo>
                  <a:cubicBezTo>
                    <a:pt x="75788" y="118968"/>
                    <a:pt x="68540" y="123710"/>
                    <a:pt x="60711" y="127292"/>
                  </a:cubicBezTo>
                  <a:cubicBezTo>
                    <a:pt x="53728" y="130282"/>
                    <a:pt x="46209" y="131796"/>
                    <a:pt x="38613" y="131746"/>
                  </a:cubicBezTo>
                  <a:cubicBezTo>
                    <a:pt x="28244" y="132216"/>
                    <a:pt x="18112" y="128519"/>
                    <a:pt x="10482" y="121477"/>
                  </a:cubicBezTo>
                  <a:cubicBezTo>
                    <a:pt x="3355" y="114618"/>
                    <a:pt x="-523" y="105061"/>
                    <a:pt x="-197" y="95173"/>
                  </a:cubicBezTo>
                  <a:cubicBezTo>
                    <a:pt x="-324" y="88618"/>
                    <a:pt x="1339" y="82151"/>
                    <a:pt x="4610" y="76469"/>
                  </a:cubicBezTo>
                  <a:cubicBezTo>
                    <a:pt x="7725" y="71135"/>
                    <a:pt x="12112" y="66647"/>
                    <a:pt x="17371" y="63408"/>
                  </a:cubicBezTo>
                  <a:cubicBezTo>
                    <a:pt x="23366" y="59865"/>
                    <a:pt x="29962" y="57466"/>
                    <a:pt x="36834" y="56339"/>
                  </a:cubicBezTo>
                  <a:cubicBezTo>
                    <a:pt x="45939" y="55012"/>
                    <a:pt x="55115" y="54261"/>
                    <a:pt x="64314" y="54084"/>
                  </a:cubicBezTo>
                  <a:cubicBezTo>
                    <a:pt x="74147" y="54122"/>
                    <a:pt x="83931" y="52680"/>
                    <a:pt x="93334" y="49811"/>
                  </a:cubicBezTo>
                  <a:cubicBezTo>
                    <a:pt x="94809" y="45074"/>
                    <a:pt x="95649" y="40161"/>
                    <a:pt x="95826" y="35203"/>
                  </a:cubicBezTo>
                  <a:cubicBezTo>
                    <a:pt x="96019" y="30632"/>
                    <a:pt x="93980" y="26249"/>
                    <a:pt x="90362" y="23446"/>
                  </a:cubicBezTo>
                  <a:cubicBezTo>
                    <a:pt x="83953" y="19069"/>
                    <a:pt x="76263" y="16980"/>
                    <a:pt x="68523" y="17510"/>
                  </a:cubicBezTo>
                  <a:cubicBezTo>
                    <a:pt x="60701" y="17173"/>
                    <a:pt x="52972" y="19268"/>
                    <a:pt x="46386" y="23507"/>
                  </a:cubicBezTo>
                  <a:cubicBezTo>
                    <a:pt x="40503" y="27702"/>
                    <a:pt x="36111" y="33677"/>
                    <a:pt x="33868" y="40548"/>
                  </a:cubicBezTo>
                  <a:lnTo>
                    <a:pt x="12145" y="38646"/>
                  </a:lnTo>
                  <a:cubicBezTo>
                    <a:pt x="15896" y="27050"/>
                    <a:pt x="23288" y="16969"/>
                    <a:pt x="33216" y="9905"/>
                  </a:cubicBezTo>
                  <a:cubicBezTo>
                    <a:pt x="44027" y="2918"/>
                    <a:pt x="56734" y="-553"/>
                    <a:pt x="69595" y="-44"/>
                  </a:cubicBezTo>
                  <a:cubicBezTo>
                    <a:pt x="82859" y="-763"/>
                    <a:pt x="95953" y="3184"/>
                    <a:pt x="106610" y="11121"/>
                  </a:cubicBezTo>
                  <a:cubicBezTo>
                    <a:pt x="113361" y="16228"/>
                    <a:pt x="117244" y="24270"/>
                    <a:pt x="117051" y="32732"/>
                  </a:cubicBezTo>
                  <a:cubicBezTo>
                    <a:pt x="116913" y="40614"/>
                    <a:pt x="115913" y="48457"/>
                    <a:pt x="114084" y="56123"/>
                  </a:cubicBezTo>
                  <a:lnTo>
                    <a:pt x="107085" y="87474"/>
                  </a:lnTo>
                  <a:cubicBezTo>
                    <a:pt x="105135" y="95444"/>
                    <a:pt x="104019" y="103591"/>
                    <a:pt x="103770" y="111793"/>
                  </a:cubicBezTo>
                  <a:cubicBezTo>
                    <a:pt x="104030" y="117569"/>
                    <a:pt x="104908" y="123301"/>
                    <a:pt x="106383" y="128889"/>
                  </a:cubicBezTo>
                  <a:lnTo>
                    <a:pt x="84683" y="128889"/>
                  </a:lnTo>
                  <a:cubicBezTo>
                    <a:pt x="83329" y="123760"/>
                    <a:pt x="82500" y="118514"/>
                    <a:pt x="82197" y="113219"/>
                  </a:cubicBezTo>
                  <a:close/>
                  <a:moveTo>
                    <a:pt x="90146" y="65011"/>
                  </a:moveTo>
                  <a:cubicBezTo>
                    <a:pt x="87019" y="66233"/>
                    <a:pt x="83777" y="67150"/>
                    <a:pt x="80473" y="67742"/>
                  </a:cubicBezTo>
                  <a:cubicBezTo>
                    <a:pt x="77031" y="68377"/>
                    <a:pt x="71275" y="69052"/>
                    <a:pt x="63203" y="69759"/>
                  </a:cubicBezTo>
                  <a:cubicBezTo>
                    <a:pt x="54259" y="70267"/>
                    <a:pt x="45392" y="71677"/>
                    <a:pt x="36735" y="73976"/>
                  </a:cubicBezTo>
                  <a:cubicBezTo>
                    <a:pt x="32083" y="75347"/>
                    <a:pt x="28012" y="78199"/>
                    <a:pt x="25133" y="82107"/>
                  </a:cubicBezTo>
                  <a:cubicBezTo>
                    <a:pt x="22559" y="85710"/>
                    <a:pt x="21189" y="90033"/>
                    <a:pt x="21216" y="94460"/>
                  </a:cubicBezTo>
                  <a:cubicBezTo>
                    <a:pt x="21045" y="100076"/>
                    <a:pt x="23321" y="105492"/>
                    <a:pt x="27448" y="109301"/>
                  </a:cubicBezTo>
                  <a:cubicBezTo>
                    <a:pt x="32387" y="113462"/>
                    <a:pt x="38751" y="115546"/>
                    <a:pt x="45193" y="115121"/>
                  </a:cubicBezTo>
                  <a:cubicBezTo>
                    <a:pt x="60170" y="114955"/>
                    <a:pt x="73926" y="106808"/>
                    <a:pt x="81274" y="93747"/>
                  </a:cubicBezTo>
                  <a:cubicBezTo>
                    <a:pt x="85799" y="84727"/>
                    <a:pt x="88798" y="75015"/>
                    <a:pt x="90141" y="6501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5CC35AD3-3245-4C99-8FD9-D496C6AD6F58}"/>
                </a:ext>
              </a:extLst>
            </p:cNvPr>
            <p:cNvSpPr/>
            <p:nvPr/>
          </p:nvSpPr>
          <p:spPr>
            <a:xfrm>
              <a:off x="6405508" y="4300156"/>
              <a:ext cx="64465" cy="174128"/>
            </a:xfrm>
            <a:custGeom>
              <a:avLst/>
              <a:gdLst>
                <a:gd name="connsiteX0" fmla="*/ 44427 w 64465"/>
                <a:gd name="connsiteY0" fmla="*/ 154364 h 174128"/>
                <a:gd name="connsiteX1" fmla="*/ 40864 w 64465"/>
                <a:gd name="connsiteY1" fmla="*/ 171940 h 174128"/>
                <a:gd name="connsiteX2" fmla="*/ 25909 w 64465"/>
                <a:gd name="connsiteY2" fmla="*/ 173957 h 174128"/>
                <a:gd name="connsiteX3" fmla="*/ 5496 w 64465"/>
                <a:gd name="connsiteY3" fmla="*/ 167662 h 174128"/>
                <a:gd name="connsiteX4" fmla="*/ -200 w 64465"/>
                <a:gd name="connsiteY4" fmla="*/ 154723 h 174128"/>
                <a:gd name="connsiteX5" fmla="*/ 2883 w 64465"/>
                <a:gd name="connsiteY5" fmla="*/ 135604 h 174128"/>
                <a:gd name="connsiteX6" fmla="*/ 18197 w 64465"/>
                <a:gd name="connsiteY6" fmla="*/ 62336 h 174128"/>
                <a:gd name="connsiteX7" fmla="*/ 1225 w 64465"/>
                <a:gd name="connsiteY7" fmla="*/ 62336 h 174128"/>
                <a:gd name="connsiteX8" fmla="*/ 4667 w 64465"/>
                <a:gd name="connsiteY8" fmla="*/ 45710 h 174128"/>
                <a:gd name="connsiteX9" fmla="*/ 21638 w 64465"/>
                <a:gd name="connsiteY9" fmla="*/ 45710 h 174128"/>
                <a:gd name="connsiteX10" fmla="*/ 28169 w 64465"/>
                <a:gd name="connsiteY10" fmla="*/ 14719 h 174128"/>
                <a:gd name="connsiteX11" fmla="*/ 52736 w 64465"/>
                <a:gd name="connsiteY11" fmla="*/ -128 h 174128"/>
                <a:gd name="connsiteX12" fmla="*/ 43124 w 64465"/>
                <a:gd name="connsiteY12" fmla="*/ 45710 h 174128"/>
                <a:gd name="connsiteX13" fmla="*/ 64250 w 64465"/>
                <a:gd name="connsiteY13" fmla="*/ 45710 h 174128"/>
                <a:gd name="connsiteX14" fmla="*/ 60686 w 64465"/>
                <a:gd name="connsiteY14" fmla="*/ 62336 h 174128"/>
                <a:gd name="connsiteX15" fmla="*/ 39693 w 64465"/>
                <a:gd name="connsiteY15" fmla="*/ 62336 h 174128"/>
                <a:gd name="connsiteX16" fmla="*/ 25091 w 64465"/>
                <a:gd name="connsiteY16" fmla="*/ 132039 h 174128"/>
                <a:gd name="connsiteX17" fmla="*/ 22362 w 64465"/>
                <a:gd name="connsiteY17" fmla="*/ 147952 h 174128"/>
                <a:gd name="connsiteX18" fmla="*/ 24572 w 64465"/>
                <a:gd name="connsiteY18" fmla="*/ 153772 h 174128"/>
                <a:gd name="connsiteX19" fmla="*/ 31754 w 64465"/>
                <a:gd name="connsiteY19" fmla="*/ 155790 h 174128"/>
                <a:gd name="connsiteX20" fmla="*/ 44427 w 64465"/>
                <a:gd name="connsiteY20" fmla="*/ 154364 h 17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65" h="174128">
                  <a:moveTo>
                    <a:pt x="44427" y="154364"/>
                  </a:moveTo>
                  <a:lnTo>
                    <a:pt x="40864" y="171940"/>
                  </a:lnTo>
                  <a:cubicBezTo>
                    <a:pt x="35986" y="173250"/>
                    <a:pt x="30958" y="173930"/>
                    <a:pt x="25909" y="173957"/>
                  </a:cubicBezTo>
                  <a:cubicBezTo>
                    <a:pt x="18572" y="174344"/>
                    <a:pt x="11341" y="172111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47" y="148283"/>
                    <a:pt x="1380" y="141889"/>
                    <a:pt x="2883" y="135604"/>
                  </a:cubicBezTo>
                  <a:lnTo>
                    <a:pt x="18197" y="62336"/>
                  </a:lnTo>
                  <a:lnTo>
                    <a:pt x="1225" y="62336"/>
                  </a:lnTo>
                  <a:lnTo>
                    <a:pt x="4667" y="45710"/>
                  </a:lnTo>
                  <a:lnTo>
                    <a:pt x="21638" y="45710"/>
                  </a:lnTo>
                  <a:lnTo>
                    <a:pt x="28169" y="14719"/>
                  </a:lnTo>
                  <a:lnTo>
                    <a:pt x="52736" y="-128"/>
                  </a:lnTo>
                  <a:lnTo>
                    <a:pt x="43124" y="45710"/>
                  </a:lnTo>
                  <a:lnTo>
                    <a:pt x="64250" y="45710"/>
                  </a:lnTo>
                  <a:lnTo>
                    <a:pt x="60686" y="62336"/>
                  </a:lnTo>
                  <a:lnTo>
                    <a:pt x="39693" y="62336"/>
                  </a:lnTo>
                  <a:lnTo>
                    <a:pt x="25091" y="132039"/>
                  </a:lnTo>
                  <a:cubicBezTo>
                    <a:pt x="23854" y="137284"/>
                    <a:pt x="22942" y="142596"/>
                    <a:pt x="22362" y="147952"/>
                  </a:cubicBezTo>
                  <a:cubicBezTo>
                    <a:pt x="22224" y="150119"/>
                    <a:pt x="23031" y="152241"/>
                    <a:pt x="24572" y="153772"/>
                  </a:cubicBezTo>
                  <a:cubicBezTo>
                    <a:pt x="26638" y="155309"/>
                    <a:pt x="29196" y="156027"/>
                    <a:pt x="31754" y="155790"/>
                  </a:cubicBezTo>
                  <a:cubicBezTo>
                    <a:pt x="36019" y="155839"/>
                    <a:pt x="40278" y="155364"/>
                    <a:pt x="44427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3C77D250-E616-4B9A-9BC1-EE41D4B35E0D}"/>
                </a:ext>
              </a:extLst>
            </p:cNvPr>
            <p:cNvSpPr/>
            <p:nvPr/>
          </p:nvSpPr>
          <p:spPr>
            <a:xfrm>
              <a:off x="6532468" y="4343043"/>
              <a:ext cx="189574" cy="129080"/>
            </a:xfrm>
            <a:custGeom>
              <a:avLst/>
              <a:gdLst>
                <a:gd name="connsiteX0" fmla="*/ -216 w 189574"/>
                <a:gd name="connsiteY0" fmla="*/ 128931 h 129080"/>
                <a:gd name="connsiteX1" fmla="*/ 26136 w 189574"/>
                <a:gd name="connsiteY1" fmla="*/ 2822 h 129080"/>
                <a:gd name="connsiteX2" fmla="*/ 47621 w 189574"/>
                <a:gd name="connsiteY2" fmla="*/ 2822 h 129080"/>
                <a:gd name="connsiteX3" fmla="*/ 43202 w 189574"/>
                <a:gd name="connsiteY3" fmla="*/ 23604 h 129080"/>
                <a:gd name="connsiteX4" fmla="*/ 64626 w 189574"/>
                <a:gd name="connsiteY4" fmla="*/ 5077 h 129080"/>
                <a:gd name="connsiteX5" fmla="*/ 85100 w 189574"/>
                <a:gd name="connsiteY5" fmla="*/ -30 h 129080"/>
                <a:gd name="connsiteX6" fmla="*/ 104740 w 189574"/>
                <a:gd name="connsiteY6" fmla="*/ 6205 h 129080"/>
                <a:gd name="connsiteX7" fmla="*/ 115126 w 189574"/>
                <a:gd name="connsiteY7" fmla="*/ 23604 h 129080"/>
                <a:gd name="connsiteX8" fmla="*/ 135363 w 189574"/>
                <a:gd name="connsiteY8" fmla="*/ 5851 h 129080"/>
                <a:gd name="connsiteX9" fmla="*/ 157737 w 189574"/>
                <a:gd name="connsiteY9" fmla="*/ -30 h 129080"/>
                <a:gd name="connsiteX10" fmla="*/ 181415 w 189574"/>
                <a:gd name="connsiteY10" fmla="*/ 7454 h 129080"/>
                <a:gd name="connsiteX11" fmla="*/ 189310 w 189574"/>
                <a:gd name="connsiteY11" fmla="*/ 28457 h 129080"/>
                <a:gd name="connsiteX12" fmla="*/ 186581 w 189574"/>
                <a:gd name="connsiteY12" fmla="*/ 47692 h 129080"/>
                <a:gd name="connsiteX13" fmla="*/ 169609 w 189574"/>
                <a:gd name="connsiteY13" fmla="*/ 128942 h 129080"/>
                <a:gd name="connsiteX14" fmla="*/ 148124 w 189574"/>
                <a:gd name="connsiteY14" fmla="*/ 128942 h 129080"/>
                <a:gd name="connsiteX15" fmla="*/ 165455 w 189574"/>
                <a:gd name="connsiteY15" fmla="*/ 45581 h 129080"/>
                <a:gd name="connsiteX16" fmla="*/ 167709 w 189574"/>
                <a:gd name="connsiteY16" fmla="*/ 30978 h 129080"/>
                <a:gd name="connsiteX17" fmla="*/ 163792 w 189574"/>
                <a:gd name="connsiteY17" fmla="*/ 21239 h 129080"/>
                <a:gd name="connsiteX18" fmla="*/ 152743 w 189574"/>
                <a:gd name="connsiteY18" fmla="*/ 17674 h 129080"/>
                <a:gd name="connsiteX19" fmla="*/ 133175 w 189574"/>
                <a:gd name="connsiteY19" fmla="*/ 23483 h 129080"/>
                <a:gd name="connsiteX20" fmla="*/ 117706 w 189574"/>
                <a:gd name="connsiteY20" fmla="*/ 38743 h 129080"/>
                <a:gd name="connsiteX21" fmla="*/ 108032 w 189574"/>
                <a:gd name="connsiteY21" fmla="*/ 67778 h 129080"/>
                <a:gd name="connsiteX22" fmla="*/ 95216 w 189574"/>
                <a:gd name="connsiteY22" fmla="*/ 128931 h 129080"/>
                <a:gd name="connsiteX23" fmla="*/ 73730 w 189574"/>
                <a:gd name="connsiteY23" fmla="*/ 128931 h 129080"/>
                <a:gd name="connsiteX24" fmla="*/ 91536 w 189574"/>
                <a:gd name="connsiteY24" fmla="*/ 43812 h 129080"/>
                <a:gd name="connsiteX25" fmla="*/ 93437 w 189574"/>
                <a:gd name="connsiteY25" fmla="*/ 31464 h 129080"/>
                <a:gd name="connsiteX26" fmla="*/ 89569 w 189574"/>
                <a:gd name="connsiteY26" fmla="*/ 21487 h 129080"/>
                <a:gd name="connsiteX27" fmla="*/ 79542 w 189574"/>
                <a:gd name="connsiteY27" fmla="*/ 17684 h 129080"/>
                <a:gd name="connsiteX28" fmla="*/ 60372 w 189574"/>
                <a:gd name="connsiteY28" fmla="*/ 23505 h 129080"/>
                <a:gd name="connsiteX29" fmla="*/ 44053 w 189574"/>
                <a:gd name="connsiteY29" fmla="*/ 39716 h 129080"/>
                <a:gd name="connsiteX30" fmla="*/ 33727 w 189574"/>
                <a:gd name="connsiteY30" fmla="*/ 69342 h 129080"/>
                <a:gd name="connsiteX31" fmla="*/ 21264 w 189574"/>
                <a:gd name="connsiteY31" fmla="*/ 128953 h 129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9574" h="129080">
                  <a:moveTo>
                    <a:pt x="-216" y="128931"/>
                  </a:moveTo>
                  <a:lnTo>
                    <a:pt x="26136" y="2822"/>
                  </a:lnTo>
                  <a:lnTo>
                    <a:pt x="47621" y="2822"/>
                  </a:lnTo>
                  <a:lnTo>
                    <a:pt x="43202" y="23604"/>
                  </a:lnTo>
                  <a:cubicBezTo>
                    <a:pt x="49268" y="16286"/>
                    <a:pt x="56510" y="10024"/>
                    <a:pt x="64626" y="5077"/>
                  </a:cubicBezTo>
                  <a:cubicBezTo>
                    <a:pt x="70913" y="1678"/>
                    <a:pt x="77957" y="-80"/>
                    <a:pt x="85100" y="-30"/>
                  </a:cubicBezTo>
                  <a:cubicBezTo>
                    <a:pt x="92171" y="-279"/>
                    <a:pt x="99105" y="1927"/>
                    <a:pt x="104740" y="6205"/>
                  </a:cubicBezTo>
                  <a:cubicBezTo>
                    <a:pt x="110143" y="10599"/>
                    <a:pt x="113822" y="16761"/>
                    <a:pt x="115126" y="23604"/>
                  </a:cubicBezTo>
                  <a:cubicBezTo>
                    <a:pt x="120667" y="16441"/>
                    <a:pt x="127540" y="10411"/>
                    <a:pt x="135363" y="5851"/>
                  </a:cubicBezTo>
                  <a:cubicBezTo>
                    <a:pt x="142191" y="1999"/>
                    <a:pt x="149898" y="-30"/>
                    <a:pt x="157737" y="-30"/>
                  </a:cubicBezTo>
                  <a:cubicBezTo>
                    <a:pt x="166300" y="-688"/>
                    <a:pt x="174786" y="1999"/>
                    <a:pt x="181415" y="7454"/>
                  </a:cubicBezTo>
                  <a:cubicBezTo>
                    <a:pt x="186907" y="13020"/>
                    <a:pt x="189774" y="20653"/>
                    <a:pt x="189310" y="28457"/>
                  </a:cubicBezTo>
                  <a:cubicBezTo>
                    <a:pt x="188962" y="34935"/>
                    <a:pt x="188050" y="41374"/>
                    <a:pt x="186581" y="47692"/>
                  </a:cubicBezTo>
                  <a:lnTo>
                    <a:pt x="169609" y="128942"/>
                  </a:lnTo>
                  <a:lnTo>
                    <a:pt x="148124" y="128942"/>
                  </a:lnTo>
                  <a:lnTo>
                    <a:pt x="165455" y="45581"/>
                  </a:lnTo>
                  <a:cubicBezTo>
                    <a:pt x="166665" y="40794"/>
                    <a:pt x="167416" y="35908"/>
                    <a:pt x="167709" y="30978"/>
                  </a:cubicBezTo>
                  <a:cubicBezTo>
                    <a:pt x="167891" y="27313"/>
                    <a:pt x="166460" y="23753"/>
                    <a:pt x="163792" y="21239"/>
                  </a:cubicBezTo>
                  <a:cubicBezTo>
                    <a:pt x="160693" y="18690"/>
                    <a:pt x="156743" y="17419"/>
                    <a:pt x="152743" y="17674"/>
                  </a:cubicBezTo>
                  <a:cubicBezTo>
                    <a:pt x="145821" y="17828"/>
                    <a:pt x="139064" y="19835"/>
                    <a:pt x="133175" y="23483"/>
                  </a:cubicBezTo>
                  <a:cubicBezTo>
                    <a:pt x="126772" y="27131"/>
                    <a:pt x="121440" y="32392"/>
                    <a:pt x="117706" y="38743"/>
                  </a:cubicBezTo>
                  <a:cubicBezTo>
                    <a:pt x="113043" y="47880"/>
                    <a:pt x="109784" y="57668"/>
                    <a:pt x="108032" y="67778"/>
                  </a:cubicBezTo>
                  <a:lnTo>
                    <a:pt x="95216" y="128931"/>
                  </a:lnTo>
                  <a:lnTo>
                    <a:pt x="73730" y="128931"/>
                  </a:lnTo>
                  <a:lnTo>
                    <a:pt x="91536" y="43812"/>
                  </a:lnTo>
                  <a:cubicBezTo>
                    <a:pt x="92552" y="39766"/>
                    <a:pt x="93188" y="35631"/>
                    <a:pt x="93437" y="31464"/>
                  </a:cubicBezTo>
                  <a:cubicBezTo>
                    <a:pt x="93586" y="27744"/>
                    <a:pt x="92188" y="24129"/>
                    <a:pt x="89569" y="21487"/>
                  </a:cubicBezTo>
                  <a:cubicBezTo>
                    <a:pt x="86884" y="18906"/>
                    <a:pt x="83260" y="17535"/>
                    <a:pt x="79542" y="17684"/>
                  </a:cubicBezTo>
                  <a:cubicBezTo>
                    <a:pt x="72747" y="17889"/>
                    <a:pt x="66134" y="19901"/>
                    <a:pt x="60372" y="23505"/>
                  </a:cubicBezTo>
                  <a:cubicBezTo>
                    <a:pt x="53638" y="27429"/>
                    <a:pt x="48025" y="33011"/>
                    <a:pt x="44053" y="39716"/>
                  </a:cubicBezTo>
                  <a:cubicBezTo>
                    <a:pt x="39020" y="48963"/>
                    <a:pt x="35534" y="58967"/>
                    <a:pt x="33727" y="69342"/>
                  </a:cubicBezTo>
                  <a:lnTo>
                    <a:pt x="21264" y="12895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xmlns="" id="{9AC6C981-3E47-4B59-BF0C-F4BEE67B14C5}"/>
                </a:ext>
              </a:extLst>
            </p:cNvPr>
            <p:cNvSpPr/>
            <p:nvPr/>
          </p:nvSpPr>
          <p:spPr>
            <a:xfrm>
              <a:off x="6736427" y="4343078"/>
              <a:ext cx="117279" cy="131914"/>
            </a:xfrm>
            <a:custGeom>
              <a:avLst/>
              <a:gdLst>
                <a:gd name="connsiteX0" fmla="*/ 82197 w 117279"/>
                <a:gd name="connsiteY0" fmla="*/ 113220 h 131914"/>
                <a:gd name="connsiteX1" fmla="*/ 60717 w 117279"/>
                <a:gd name="connsiteY1" fmla="*/ 127293 h 131914"/>
                <a:gd name="connsiteX2" fmla="*/ 38619 w 117279"/>
                <a:gd name="connsiteY2" fmla="*/ 131747 h 131914"/>
                <a:gd name="connsiteX3" fmla="*/ 10488 w 117279"/>
                <a:gd name="connsiteY3" fmla="*/ 121478 h 131914"/>
                <a:gd name="connsiteX4" fmla="*/ -197 w 117279"/>
                <a:gd name="connsiteY4" fmla="*/ 95174 h 131914"/>
                <a:gd name="connsiteX5" fmla="*/ 4609 w 117279"/>
                <a:gd name="connsiteY5" fmla="*/ 76470 h 131914"/>
                <a:gd name="connsiteX6" fmla="*/ 17371 w 117279"/>
                <a:gd name="connsiteY6" fmla="*/ 63409 h 131914"/>
                <a:gd name="connsiteX7" fmla="*/ 36834 w 117279"/>
                <a:gd name="connsiteY7" fmla="*/ 56340 h 131914"/>
                <a:gd name="connsiteX8" fmla="*/ 64314 w 117279"/>
                <a:gd name="connsiteY8" fmla="*/ 54085 h 131914"/>
                <a:gd name="connsiteX9" fmla="*/ 93334 w 117279"/>
                <a:gd name="connsiteY9" fmla="*/ 49812 h 131914"/>
                <a:gd name="connsiteX10" fmla="*/ 95826 w 117279"/>
                <a:gd name="connsiteY10" fmla="*/ 35204 h 131914"/>
                <a:gd name="connsiteX11" fmla="*/ 90367 w 117279"/>
                <a:gd name="connsiteY11" fmla="*/ 23447 h 131914"/>
                <a:gd name="connsiteX12" fmla="*/ 68529 w 117279"/>
                <a:gd name="connsiteY12" fmla="*/ 17511 h 131914"/>
                <a:gd name="connsiteX13" fmla="*/ 46392 w 117279"/>
                <a:gd name="connsiteY13" fmla="*/ 23509 h 131914"/>
                <a:gd name="connsiteX14" fmla="*/ 33868 w 117279"/>
                <a:gd name="connsiteY14" fmla="*/ 40549 h 131914"/>
                <a:gd name="connsiteX15" fmla="*/ 12151 w 117279"/>
                <a:gd name="connsiteY15" fmla="*/ 38647 h 131914"/>
                <a:gd name="connsiteX16" fmla="*/ 33216 w 117279"/>
                <a:gd name="connsiteY16" fmla="*/ 9906 h 131914"/>
                <a:gd name="connsiteX17" fmla="*/ 69595 w 117279"/>
                <a:gd name="connsiteY17" fmla="*/ -43 h 131914"/>
                <a:gd name="connsiteX18" fmla="*/ 106610 w 117279"/>
                <a:gd name="connsiteY18" fmla="*/ 11122 h 131914"/>
                <a:gd name="connsiteX19" fmla="*/ 117057 w 117279"/>
                <a:gd name="connsiteY19" fmla="*/ 32733 h 131914"/>
                <a:gd name="connsiteX20" fmla="*/ 114090 w 117279"/>
                <a:gd name="connsiteY20" fmla="*/ 56124 h 131914"/>
                <a:gd name="connsiteX21" fmla="*/ 107107 w 117279"/>
                <a:gd name="connsiteY21" fmla="*/ 87453 h 131914"/>
                <a:gd name="connsiteX22" fmla="*/ 103792 w 117279"/>
                <a:gd name="connsiteY22" fmla="*/ 111772 h 131914"/>
                <a:gd name="connsiteX23" fmla="*/ 106400 w 117279"/>
                <a:gd name="connsiteY23" fmla="*/ 128868 h 131914"/>
                <a:gd name="connsiteX24" fmla="*/ 84683 w 117279"/>
                <a:gd name="connsiteY24" fmla="*/ 128868 h 131914"/>
                <a:gd name="connsiteX25" fmla="*/ 82197 w 117279"/>
                <a:gd name="connsiteY25" fmla="*/ 113220 h 131914"/>
                <a:gd name="connsiteX26" fmla="*/ 90152 w 117279"/>
                <a:gd name="connsiteY26" fmla="*/ 65012 h 131914"/>
                <a:gd name="connsiteX27" fmla="*/ 80479 w 117279"/>
                <a:gd name="connsiteY27" fmla="*/ 67743 h 131914"/>
                <a:gd name="connsiteX28" fmla="*/ 63209 w 117279"/>
                <a:gd name="connsiteY28" fmla="*/ 69760 h 131914"/>
                <a:gd name="connsiteX29" fmla="*/ 36741 w 117279"/>
                <a:gd name="connsiteY29" fmla="*/ 73977 h 131914"/>
                <a:gd name="connsiteX30" fmla="*/ 25106 w 117279"/>
                <a:gd name="connsiteY30" fmla="*/ 82108 h 131914"/>
                <a:gd name="connsiteX31" fmla="*/ 21189 w 117279"/>
                <a:gd name="connsiteY31" fmla="*/ 94461 h 131914"/>
                <a:gd name="connsiteX32" fmla="*/ 27421 w 117279"/>
                <a:gd name="connsiteY32" fmla="*/ 109302 h 131914"/>
                <a:gd name="connsiteX33" fmla="*/ 45165 w 117279"/>
                <a:gd name="connsiteY33" fmla="*/ 115122 h 131914"/>
                <a:gd name="connsiteX34" fmla="*/ 81246 w 117279"/>
                <a:gd name="connsiteY34" fmla="*/ 93748 h 131914"/>
                <a:gd name="connsiteX35" fmla="*/ 90152 w 117279"/>
                <a:gd name="connsiteY35" fmla="*/ 65012 h 13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279" h="131914">
                  <a:moveTo>
                    <a:pt x="82197" y="113220"/>
                  </a:moveTo>
                  <a:cubicBezTo>
                    <a:pt x="75788" y="118969"/>
                    <a:pt x="68545" y="123716"/>
                    <a:pt x="60717" y="127293"/>
                  </a:cubicBezTo>
                  <a:cubicBezTo>
                    <a:pt x="53734" y="130283"/>
                    <a:pt x="46215" y="131797"/>
                    <a:pt x="38619" y="131747"/>
                  </a:cubicBezTo>
                  <a:cubicBezTo>
                    <a:pt x="28249" y="132217"/>
                    <a:pt x="18117" y="128520"/>
                    <a:pt x="10488" y="121478"/>
                  </a:cubicBezTo>
                  <a:cubicBezTo>
                    <a:pt x="3361" y="114624"/>
                    <a:pt x="-523" y="105062"/>
                    <a:pt x="-197" y="95174"/>
                  </a:cubicBezTo>
                  <a:cubicBezTo>
                    <a:pt x="-324" y="88619"/>
                    <a:pt x="1339" y="82152"/>
                    <a:pt x="4609" y="76470"/>
                  </a:cubicBezTo>
                  <a:cubicBezTo>
                    <a:pt x="7725" y="71136"/>
                    <a:pt x="12112" y="66648"/>
                    <a:pt x="17371" y="63409"/>
                  </a:cubicBezTo>
                  <a:cubicBezTo>
                    <a:pt x="23365" y="59866"/>
                    <a:pt x="29967" y="57473"/>
                    <a:pt x="36834" y="56340"/>
                  </a:cubicBezTo>
                  <a:cubicBezTo>
                    <a:pt x="45939" y="55013"/>
                    <a:pt x="55115" y="54262"/>
                    <a:pt x="64314" y="54085"/>
                  </a:cubicBezTo>
                  <a:cubicBezTo>
                    <a:pt x="74147" y="54123"/>
                    <a:pt x="83931" y="52681"/>
                    <a:pt x="93334" y="49812"/>
                  </a:cubicBezTo>
                  <a:cubicBezTo>
                    <a:pt x="94815" y="45076"/>
                    <a:pt x="95649" y="40162"/>
                    <a:pt x="95826" y="35204"/>
                  </a:cubicBezTo>
                  <a:cubicBezTo>
                    <a:pt x="96019" y="30633"/>
                    <a:pt x="93980" y="26250"/>
                    <a:pt x="90367" y="23447"/>
                  </a:cubicBezTo>
                  <a:cubicBezTo>
                    <a:pt x="83959" y="19076"/>
                    <a:pt x="76269" y="16981"/>
                    <a:pt x="68529" y="17511"/>
                  </a:cubicBezTo>
                  <a:cubicBezTo>
                    <a:pt x="60706" y="17174"/>
                    <a:pt x="52977" y="19269"/>
                    <a:pt x="46392" y="23509"/>
                  </a:cubicBezTo>
                  <a:cubicBezTo>
                    <a:pt x="40508" y="27709"/>
                    <a:pt x="36116" y="33678"/>
                    <a:pt x="33868" y="40549"/>
                  </a:cubicBezTo>
                  <a:lnTo>
                    <a:pt x="12151" y="38647"/>
                  </a:lnTo>
                  <a:cubicBezTo>
                    <a:pt x="15902" y="27051"/>
                    <a:pt x="23288" y="16970"/>
                    <a:pt x="33216" y="9906"/>
                  </a:cubicBezTo>
                  <a:cubicBezTo>
                    <a:pt x="44027" y="2919"/>
                    <a:pt x="56734" y="-552"/>
                    <a:pt x="69595" y="-43"/>
                  </a:cubicBezTo>
                  <a:cubicBezTo>
                    <a:pt x="82859" y="-767"/>
                    <a:pt x="95953" y="3185"/>
                    <a:pt x="106610" y="11122"/>
                  </a:cubicBezTo>
                  <a:cubicBezTo>
                    <a:pt x="113361" y="16229"/>
                    <a:pt x="117250" y="24266"/>
                    <a:pt x="117057" y="32733"/>
                  </a:cubicBezTo>
                  <a:cubicBezTo>
                    <a:pt x="116913" y="40615"/>
                    <a:pt x="115919" y="48458"/>
                    <a:pt x="114090" y="56124"/>
                  </a:cubicBezTo>
                  <a:lnTo>
                    <a:pt x="107107" y="87453"/>
                  </a:lnTo>
                  <a:cubicBezTo>
                    <a:pt x="105157" y="95423"/>
                    <a:pt x="104046" y="103570"/>
                    <a:pt x="103792" y="111772"/>
                  </a:cubicBezTo>
                  <a:cubicBezTo>
                    <a:pt x="104052" y="117548"/>
                    <a:pt x="104925" y="123280"/>
                    <a:pt x="106400" y="128868"/>
                  </a:cubicBezTo>
                  <a:lnTo>
                    <a:pt x="84683" y="128868"/>
                  </a:lnTo>
                  <a:cubicBezTo>
                    <a:pt x="83335" y="123750"/>
                    <a:pt x="82500" y="118504"/>
                    <a:pt x="82197" y="113220"/>
                  </a:cubicBezTo>
                  <a:close/>
                  <a:moveTo>
                    <a:pt x="90152" y="65012"/>
                  </a:moveTo>
                  <a:cubicBezTo>
                    <a:pt x="87025" y="66234"/>
                    <a:pt x="83782" y="67151"/>
                    <a:pt x="80479" y="67743"/>
                  </a:cubicBezTo>
                  <a:cubicBezTo>
                    <a:pt x="77037" y="68378"/>
                    <a:pt x="71280" y="69053"/>
                    <a:pt x="63209" y="69760"/>
                  </a:cubicBezTo>
                  <a:cubicBezTo>
                    <a:pt x="54264" y="70263"/>
                    <a:pt x="45398" y="71678"/>
                    <a:pt x="36741" y="73977"/>
                  </a:cubicBezTo>
                  <a:cubicBezTo>
                    <a:pt x="32078" y="75343"/>
                    <a:pt x="27990" y="78195"/>
                    <a:pt x="25106" y="82108"/>
                  </a:cubicBezTo>
                  <a:cubicBezTo>
                    <a:pt x="22537" y="85711"/>
                    <a:pt x="21161" y="90034"/>
                    <a:pt x="21189" y="94461"/>
                  </a:cubicBezTo>
                  <a:cubicBezTo>
                    <a:pt x="21018" y="100077"/>
                    <a:pt x="23294" y="105493"/>
                    <a:pt x="27421" y="109302"/>
                  </a:cubicBezTo>
                  <a:cubicBezTo>
                    <a:pt x="32365" y="113458"/>
                    <a:pt x="38724" y="115547"/>
                    <a:pt x="45165" y="115122"/>
                  </a:cubicBezTo>
                  <a:cubicBezTo>
                    <a:pt x="60142" y="114956"/>
                    <a:pt x="73899" y="106809"/>
                    <a:pt x="81246" y="93748"/>
                  </a:cubicBezTo>
                  <a:cubicBezTo>
                    <a:pt x="85782" y="84728"/>
                    <a:pt x="88793" y="75016"/>
                    <a:pt x="90152" y="6501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C33E3A2B-80CB-425D-AFA1-1252049BC558}"/>
                </a:ext>
              </a:extLst>
            </p:cNvPr>
            <p:cNvSpPr/>
            <p:nvPr/>
          </p:nvSpPr>
          <p:spPr>
            <a:xfrm>
              <a:off x="6873351" y="4300156"/>
              <a:ext cx="64515" cy="174129"/>
            </a:xfrm>
            <a:custGeom>
              <a:avLst/>
              <a:gdLst>
                <a:gd name="connsiteX0" fmla="*/ 44472 w 64515"/>
                <a:gd name="connsiteY0" fmla="*/ 154364 h 174129"/>
                <a:gd name="connsiteX1" fmla="*/ 40897 w 64515"/>
                <a:gd name="connsiteY1" fmla="*/ 171940 h 174129"/>
                <a:gd name="connsiteX2" fmla="*/ 25942 w 64515"/>
                <a:gd name="connsiteY2" fmla="*/ 173957 h 174129"/>
                <a:gd name="connsiteX3" fmla="*/ 5502 w 64515"/>
                <a:gd name="connsiteY3" fmla="*/ 167662 h 174129"/>
                <a:gd name="connsiteX4" fmla="*/ -200 w 64515"/>
                <a:gd name="connsiteY4" fmla="*/ 154723 h 174129"/>
                <a:gd name="connsiteX5" fmla="*/ 2888 w 64515"/>
                <a:gd name="connsiteY5" fmla="*/ 135604 h 174129"/>
                <a:gd name="connsiteX6" fmla="*/ 18247 w 64515"/>
                <a:gd name="connsiteY6" fmla="*/ 62336 h 174129"/>
                <a:gd name="connsiteX7" fmla="*/ 1275 w 64515"/>
                <a:gd name="connsiteY7" fmla="*/ 62336 h 174129"/>
                <a:gd name="connsiteX8" fmla="*/ 4717 w 64515"/>
                <a:gd name="connsiteY8" fmla="*/ 45710 h 174129"/>
                <a:gd name="connsiteX9" fmla="*/ 21688 w 64515"/>
                <a:gd name="connsiteY9" fmla="*/ 45710 h 174129"/>
                <a:gd name="connsiteX10" fmla="*/ 28219 w 64515"/>
                <a:gd name="connsiteY10" fmla="*/ 14719 h 174129"/>
                <a:gd name="connsiteX11" fmla="*/ 52786 w 64515"/>
                <a:gd name="connsiteY11" fmla="*/ -128 h 174129"/>
                <a:gd name="connsiteX12" fmla="*/ 43173 w 64515"/>
                <a:gd name="connsiteY12" fmla="*/ 45710 h 174129"/>
                <a:gd name="connsiteX13" fmla="*/ 64300 w 64515"/>
                <a:gd name="connsiteY13" fmla="*/ 45710 h 174129"/>
                <a:gd name="connsiteX14" fmla="*/ 60741 w 64515"/>
                <a:gd name="connsiteY14" fmla="*/ 62336 h 174129"/>
                <a:gd name="connsiteX15" fmla="*/ 39748 w 64515"/>
                <a:gd name="connsiteY15" fmla="*/ 62336 h 174129"/>
                <a:gd name="connsiteX16" fmla="*/ 25147 w 64515"/>
                <a:gd name="connsiteY16" fmla="*/ 132039 h 174129"/>
                <a:gd name="connsiteX17" fmla="*/ 22418 w 64515"/>
                <a:gd name="connsiteY17" fmla="*/ 147952 h 174129"/>
                <a:gd name="connsiteX18" fmla="*/ 24627 w 64515"/>
                <a:gd name="connsiteY18" fmla="*/ 153772 h 174129"/>
                <a:gd name="connsiteX19" fmla="*/ 31809 w 64515"/>
                <a:gd name="connsiteY19" fmla="*/ 155790 h 174129"/>
                <a:gd name="connsiteX20" fmla="*/ 44472 w 64515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515" h="174129">
                  <a:moveTo>
                    <a:pt x="44472" y="154364"/>
                  </a:moveTo>
                  <a:lnTo>
                    <a:pt x="40897" y="171940"/>
                  </a:lnTo>
                  <a:cubicBezTo>
                    <a:pt x="36019" y="173250"/>
                    <a:pt x="30992" y="173924"/>
                    <a:pt x="25942" y="173957"/>
                  </a:cubicBezTo>
                  <a:cubicBezTo>
                    <a:pt x="18600" y="174350"/>
                    <a:pt x="11352" y="172122"/>
                    <a:pt x="5502" y="167662"/>
                  </a:cubicBezTo>
                  <a:cubicBezTo>
                    <a:pt x="1690" y="164473"/>
                    <a:pt x="-421" y="159692"/>
                    <a:pt x="-200" y="154723"/>
                  </a:cubicBezTo>
                  <a:cubicBezTo>
                    <a:pt x="353" y="148283"/>
                    <a:pt x="1386" y="141889"/>
                    <a:pt x="2888" y="135604"/>
                  </a:cubicBezTo>
                  <a:lnTo>
                    <a:pt x="18247" y="62336"/>
                  </a:lnTo>
                  <a:lnTo>
                    <a:pt x="1275" y="62336"/>
                  </a:lnTo>
                  <a:lnTo>
                    <a:pt x="4717" y="45710"/>
                  </a:lnTo>
                  <a:lnTo>
                    <a:pt x="21688" y="45710"/>
                  </a:lnTo>
                  <a:lnTo>
                    <a:pt x="28219" y="14719"/>
                  </a:lnTo>
                  <a:lnTo>
                    <a:pt x="52786" y="-128"/>
                  </a:lnTo>
                  <a:lnTo>
                    <a:pt x="43173" y="45710"/>
                  </a:lnTo>
                  <a:lnTo>
                    <a:pt x="64300" y="45710"/>
                  </a:lnTo>
                  <a:lnTo>
                    <a:pt x="60741" y="62336"/>
                  </a:lnTo>
                  <a:lnTo>
                    <a:pt x="39748" y="62336"/>
                  </a:lnTo>
                  <a:lnTo>
                    <a:pt x="25147" y="132039"/>
                  </a:lnTo>
                  <a:cubicBezTo>
                    <a:pt x="23909" y="137284"/>
                    <a:pt x="22998" y="142596"/>
                    <a:pt x="22418" y="147952"/>
                  </a:cubicBezTo>
                  <a:cubicBezTo>
                    <a:pt x="22274" y="150119"/>
                    <a:pt x="23081" y="152246"/>
                    <a:pt x="24627" y="153772"/>
                  </a:cubicBezTo>
                  <a:cubicBezTo>
                    <a:pt x="26694" y="155309"/>
                    <a:pt x="29246" y="156027"/>
                    <a:pt x="31809" y="155790"/>
                  </a:cubicBezTo>
                  <a:cubicBezTo>
                    <a:pt x="36074" y="155839"/>
                    <a:pt x="40328" y="155364"/>
                    <a:pt x="44472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492E2DFE-DFC8-46DF-852F-9C5904B7AFC0}"/>
                </a:ext>
              </a:extLst>
            </p:cNvPr>
            <p:cNvSpPr/>
            <p:nvPr/>
          </p:nvSpPr>
          <p:spPr>
            <a:xfrm>
              <a:off x="6939695" y="4300156"/>
              <a:ext cx="64465" cy="174129"/>
            </a:xfrm>
            <a:custGeom>
              <a:avLst/>
              <a:gdLst>
                <a:gd name="connsiteX0" fmla="*/ 44449 w 64465"/>
                <a:gd name="connsiteY0" fmla="*/ 154364 h 174129"/>
                <a:gd name="connsiteX1" fmla="*/ 40892 w 64465"/>
                <a:gd name="connsiteY1" fmla="*/ 171940 h 174129"/>
                <a:gd name="connsiteX2" fmla="*/ 25937 w 64465"/>
                <a:gd name="connsiteY2" fmla="*/ 173957 h 174129"/>
                <a:gd name="connsiteX3" fmla="*/ 5496 w 64465"/>
                <a:gd name="connsiteY3" fmla="*/ 167662 h 174129"/>
                <a:gd name="connsiteX4" fmla="*/ -200 w 64465"/>
                <a:gd name="connsiteY4" fmla="*/ 154723 h 174129"/>
                <a:gd name="connsiteX5" fmla="*/ 2888 w 64465"/>
                <a:gd name="connsiteY5" fmla="*/ 135604 h 174129"/>
                <a:gd name="connsiteX6" fmla="*/ 18197 w 64465"/>
                <a:gd name="connsiteY6" fmla="*/ 62336 h 174129"/>
                <a:gd name="connsiteX7" fmla="*/ 1225 w 64465"/>
                <a:gd name="connsiteY7" fmla="*/ 62336 h 174129"/>
                <a:gd name="connsiteX8" fmla="*/ 4667 w 64465"/>
                <a:gd name="connsiteY8" fmla="*/ 45710 h 174129"/>
                <a:gd name="connsiteX9" fmla="*/ 21639 w 64465"/>
                <a:gd name="connsiteY9" fmla="*/ 45710 h 174129"/>
                <a:gd name="connsiteX10" fmla="*/ 28169 w 64465"/>
                <a:gd name="connsiteY10" fmla="*/ 14719 h 174129"/>
                <a:gd name="connsiteX11" fmla="*/ 52736 w 64465"/>
                <a:gd name="connsiteY11" fmla="*/ -128 h 174129"/>
                <a:gd name="connsiteX12" fmla="*/ 43124 w 64465"/>
                <a:gd name="connsiteY12" fmla="*/ 45710 h 174129"/>
                <a:gd name="connsiteX13" fmla="*/ 64250 w 64465"/>
                <a:gd name="connsiteY13" fmla="*/ 45710 h 174129"/>
                <a:gd name="connsiteX14" fmla="*/ 60692 w 64465"/>
                <a:gd name="connsiteY14" fmla="*/ 62336 h 174129"/>
                <a:gd name="connsiteX15" fmla="*/ 39698 w 64465"/>
                <a:gd name="connsiteY15" fmla="*/ 62336 h 174129"/>
                <a:gd name="connsiteX16" fmla="*/ 25097 w 64465"/>
                <a:gd name="connsiteY16" fmla="*/ 132039 h 174129"/>
                <a:gd name="connsiteX17" fmla="*/ 22368 w 64465"/>
                <a:gd name="connsiteY17" fmla="*/ 147952 h 174129"/>
                <a:gd name="connsiteX18" fmla="*/ 24578 w 64465"/>
                <a:gd name="connsiteY18" fmla="*/ 153772 h 174129"/>
                <a:gd name="connsiteX19" fmla="*/ 31759 w 64465"/>
                <a:gd name="connsiteY19" fmla="*/ 155790 h 174129"/>
                <a:gd name="connsiteX20" fmla="*/ 44449 w 64465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65" h="174129">
                  <a:moveTo>
                    <a:pt x="44449" y="154364"/>
                  </a:moveTo>
                  <a:lnTo>
                    <a:pt x="40892" y="171940"/>
                  </a:lnTo>
                  <a:cubicBezTo>
                    <a:pt x="36013" y="173250"/>
                    <a:pt x="30986" y="173924"/>
                    <a:pt x="25937" y="173957"/>
                  </a:cubicBezTo>
                  <a:cubicBezTo>
                    <a:pt x="18594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5" y="141889"/>
                    <a:pt x="2888" y="135604"/>
                  </a:cubicBezTo>
                  <a:lnTo>
                    <a:pt x="18197" y="62336"/>
                  </a:lnTo>
                  <a:lnTo>
                    <a:pt x="1225" y="62336"/>
                  </a:lnTo>
                  <a:lnTo>
                    <a:pt x="4667" y="45710"/>
                  </a:lnTo>
                  <a:lnTo>
                    <a:pt x="21639" y="45710"/>
                  </a:lnTo>
                  <a:lnTo>
                    <a:pt x="28169" y="14719"/>
                  </a:lnTo>
                  <a:lnTo>
                    <a:pt x="52736" y="-128"/>
                  </a:lnTo>
                  <a:lnTo>
                    <a:pt x="43124" y="45710"/>
                  </a:lnTo>
                  <a:lnTo>
                    <a:pt x="64250" y="45710"/>
                  </a:lnTo>
                  <a:lnTo>
                    <a:pt x="60692" y="62336"/>
                  </a:lnTo>
                  <a:lnTo>
                    <a:pt x="39698" y="62336"/>
                  </a:lnTo>
                  <a:lnTo>
                    <a:pt x="25097" y="132039"/>
                  </a:lnTo>
                  <a:cubicBezTo>
                    <a:pt x="23859" y="137284"/>
                    <a:pt x="22948" y="142596"/>
                    <a:pt x="22368" y="147952"/>
                  </a:cubicBezTo>
                  <a:cubicBezTo>
                    <a:pt x="22224" y="150119"/>
                    <a:pt x="23031" y="152246"/>
                    <a:pt x="24578" y="153772"/>
                  </a:cubicBezTo>
                  <a:cubicBezTo>
                    <a:pt x="26638" y="155309"/>
                    <a:pt x="29196" y="156027"/>
                    <a:pt x="31759" y="155790"/>
                  </a:cubicBezTo>
                  <a:cubicBezTo>
                    <a:pt x="36030" y="155845"/>
                    <a:pt x="40295" y="155364"/>
                    <a:pt x="44449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xmlns="" id="{683F25D5-32F4-4811-B3A0-0E5DD74ED1C7}"/>
                </a:ext>
              </a:extLst>
            </p:cNvPr>
            <p:cNvSpPr/>
            <p:nvPr/>
          </p:nvSpPr>
          <p:spPr>
            <a:xfrm>
              <a:off x="7004974" y="4343117"/>
              <a:ext cx="116761" cy="131848"/>
            </a:xfrm>
            <a:custGeom>
              <a:avLst/>
              <a:gdLst>
                <a:gd name="connsiteX0" fmla="*/ 87862 w 116761"/>
                <a:gd name="connsiteY0" fmla="*/ 85988 h 131848"/>
                <a:gd name="connsiteX1" fmla="*/ 108750 w 116761"/>
                <a:gd name="connsiteY1" fmla="*/ 88127 h 131848"/>
                <a:gd name="connsiteX2" fmla="*/ 88038 w 116761"/>
                <a:gd name="connsiteY2" fmla="*/ 117697 h 131848"/>
                <a:gd name="connsiteX3" fmla="*/ 49405 w 116761"/>
                <a:gd name="connsiteY3" fmla="*/ 131709 h 131848"/>
                <a:gd name="connsiteX4" fmla="*/ 23710 w 116761"/>
                <a:gd name="connsiteY4" fmla="*/ 125237 h 131848"/>
                <a:gd name="connsiteX5" fmla="*/ 5905 w 116761"/>
                <a:gd name="connsiteY5" fmla="*/ 106444 h 131848"/>
                <a:gd name="connsiteX6" fmla="*/ -206 w 116761"/>
                <a:gd name="connsiteY6" fmla="*/ 78300 h 131848"/>
                <a:gd name="connsiteX7" fmla="*/ 9346 w 116761"/>
                <a:gd name="connsiteY7" fmla="*/ 38222 h 131848"/>
                <a:gd name="connsiteX8" fmla="*/ 34096 w 116761"/>
                <a:gd name="connsiteY8" fmla="*/ 9364 h 131848"/>
                <a:gd name="connsiteX9" fmla="*/ 66973 w 116761"/>
                <a:gd name="connsiteY9" fmla="*/ -76 h 131848"/>
                <a:gd name="connsiteX10" fmla="*/ 102993 w 116761"/>
                <a:gd name="connsiteY10" fmla="*/ 13935 h 131848"/>
                <a:gd name="connsiteX11" fmla="*/ 116468 w 116761"/>
                <a:gd name="connsiteY11" fmla="*/ 52173 h 131848"/>
                <a:gd name="connsiteX12" fmla="*/ 114810 w 116761"/>
                <a:gd name="connsiteY12" fmla="*/ 71175 h 131848"/>
                <a:gd name="connsiteX13" fmla="*/ 21976 w 116761"/>
                <a:gd name="connsiteY13" fmla="*/ 71175 h 131848"/>
                <a:gd name="connsiteX14" fmla="*/ 21501 w 116761"/>
                <a:gd name="connsiteY14" fmla="*/ 77808 h 131848"/>
                <a:gd name="connsiteX15" fmla="*/ 29633 w 116761"/>
                <a:gd name="connsiteY15" fmla="*/ 104825 h 131848"/>
                <a:gd name="connsiteX16" fmla="*/ 49521 w 116761"/>
                <a:gd name="connsiteY16" fmla="*/ 114143 h 131848"/>
                <a:gd name="connsiteX17" fmla="*/ 71238 w 116761"/>
                <a:gd name="connsiteY17" fmla="*/ 106903 h 131848"/>
                <a:gd name="connsiteX18" fmla="*/ 87862 w 116761"/>
                <a:gd name="connsiteY18" fmla="*/ 85988 h 131848"/>
                <a:gd name="connsiteX19" fmla="*/ 25434 w 116761"/>
                <a:gd name="connsiteY19" fmla="*/ 54759 h 131848"/>
                <a:gd name="connsiteX20" fmla="*/ 96171 w 116761"/>
                <a:gd name="connsiteY20" fmla="*/ 54759 h 131848"/>
                <a:gd name="connsiteX21" fmla="*/ 96292 w 116761"/>
                <a:gd name="connsiteY21" fmla="*/ 50011 h 131848"/>
                <a:gd name="connsiteX22" fmla="*/ 88221 w 116761"/>
                <a:gd name="connsiteY22" fmla="*/ 25249 h 131848"/>
                <a:gd name="connsiteX23" fmla="*/ 67448 w 116761"/>
                <a:gd name="connsiteY23" fmla="*/ 16643 h 131848"/>
                <a:gd name="connsiteX24" fmla="*/ 42345 w 116761"/>
                <a:gd name="connsiteY24" fmla="*/ 26139 h 131848"/>
                <a:gd name="connsiteX25" fmla="*/ 25429 w 116761"/>
                <a:gd name="connsiteY25" fmla="*/ 5475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6761" h="131848">
                  <a:moveTo>
                    <a:pt x="87862" y="85988"/>
                  </a:moveTo>
                  <a:lnTo>
                    <a:pt x="108750" y="88127"/>
                  </a:lnTo>
                  <a:cubicBezTo>
                    <a:pt x="104866" y="99789"/>
                    <a:pt x="97668" y="110064"/>
                    <a:pt x="88038" y="117697"/>
                  </a:cubicBezTo>
                  <a:cubicBezTo>
                    <a:pt x="77343" y="127000"/>
                    <a:pt x="63576" y="131996"/>
                    <a:pt x="49405" y="131709"/>
                  </a:cubicBezTo>
                  <a:cubicBezTo>
                    <a:pt x="40428" y="131797"/>
                    <a:pt x="31577" y="129570"/>
                    <a:pt x="23710" y="125237"/>
                  </a:cubicBezTo>
                  <a:cubicBezTo>
                    <a:pt x="15965" y="120981"/>
                    <a:pt x="9739" y="114409"/>
                    <a:pt x="5905" y="106444"/>
                  </a:cubicBezTo>
                  <a:cubicBezTo>
                    <a:pt x="1706" y="97667"/>
                    <a:pt x="-382" y="88028"/>
                    <a:pt x="-206" y="78300"/>
                  </a:cubicBezTo>
                  <a:cubicBezTo>
                    <a:pt x="-172" y="64382"/>
                    <a:pt x="3098" y="50658"/>
                    <a:pt x="9346" y="38222"/>
                  </a:cubicBezTo>
                  <a:cubicBezTo>
                    <a:pt x="14694" y="26449"/>
                    <a:pt x="23279" y="16444"/>
                    <a:pt x="34096" y="9364"/>
                  </a:cubicBezTo>
                  <a:cubicBezTo>
                    <a:pt x="43936" y="3152"/>
                    <a:pt x="55339" y="-120"/>
                    <a:pt x="66973" y="-76"/>
                  </a:cubicBezTo>
                  <a:cubicBezTo>
                    <a:pt x="80420" y="-701"/>
                    <a:pt x="93502" y="4390"/>
                    <a:pt x="102993" y="13935"/>
                  </a:cubicBezTo>
                  <a:cubicBezTo>
                    <a:pt x="112385" y="24382"/>
                    <a:pt x="117230" y="38144"/>
                    <a:pt x="116468" y="52173"/>
                  </a:cubicBezTo>
                  <a:cubicBezTo>
                    <a:pt x="116451" y="58540"/>
                    <a:pt x="115899" y="64896"/>
                    <a:pt x="114810" y="71175"/>
                  </a:cubicBezTo>
                  <a:lnTo>
                    <a:pt x="21976" y="71175"/>
                  </a:lnTo>
                  <a:cubicBezTo>
                    <a:pt x="21677" y="73375"/>
                    <a:pt x="21517" y="75591"/>
                    <a:pt x="21501" y="77808"/>
                  </a:cubicBezTo>
                  <a:cubicBezTo>
                    <a:pt x="20832" y="87502"/>
                    <a:pt x="23727" y="97109"/>
                    <a:pt x="29633" y="104825"/>
                  </a:cubicBezTo>
                  <a:cubicBezTo>
                    <a:pt x="34511" y="110783"/>
                    <a:pt x="41825" y="114210"/>
                    <a:pt x="49521" y="114143"/>
                  </a:cubicBezTo>
                  <a:cubicBezTo>
                    <a:pt x="57327" y="114000"/>
                    <a:pt x="64907" y="111474"/>
                    <a:pt x="71238" y="106903"/>
                  </a:cubicBezTo>
                  <a:cubicBezTo>
                    <a:pt x="78680" y="101680"/>
                    <a:pt x="84453" y="94417"/>
                    <a:pt x="87862" y="85988"/>
                  </a:cubicBezTo>
                  <a:close/>
                  <a:moveTo>
                    <a:pt x="25434" y="54759"/>
                  </a:moveTo>
                  <a:lnTo>
                    <a:pt x="96171" y="54759"/>
                  </a:lnTo>
                  <a:cubicBezTo>
                    <a:pt x="96248" y="52548"/>
                    <a:pt x="96292" y="50962"/>
                    <a:pt x="96292" y="50011"/>
                  </a:cubicBezTo>
                  <a:cubicBezTo>
                    <a:pt x="96894" y="41024"/>
                    <a:pt x="94005" y="32153"/>
                    <a:pt x="88221" y="25249"/>
                  </a:cubicBezTo>
                  <a:cubicBezTo>
                    <a:pt x="82856" y="19523"/>
                    <a:pt x="75288" y="16384"/>
                    <a:pt x="67448" y="16643"/>
                  </a:cubicBezTo>
                  <a:cubicBezTo>
                    <a:pt x="58206" y="16666"/>
                    <a:pt x="49289" y="20037"/>
                    <a:pt x="42345" y="26139"/>
                  </a:cubicBezTo>
                  <a:cubicBezTo>
                    <a:pt x="33986" y="33783"/>
                    <a:pt x="28097" y="43749"/>
                    <a:pt x="25429" y="54759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BB152D0C-E801-4942-A6D5-2FBA71C7D1D9}"/>
                </a:ext>
              </a:extLst>
            </p:cNvPr>
            <p:cNvSpPr/>
            <p:nvPr/>
          </p:nvSpPr>
          <p:spPr>
            <a:xfrm>
              <a:off x="7134446" y="4343141"/>
              <a:ext cx="93884" cy="128960"/>
            </a:xfrm>
            <a:custGeom>
              <a:avLst/>
              <a:gdLst>
                <a:gd name="connsiteX0" fmla="*/ -216 w 93884"/>
                <a:gd name="connsiteY0" fmla="*/ 128833 h 128960"/>
                <a:gd name="connsiteX1" fmla="*/ 26136 w 93884"/>
                <a:gd name="connsiteY1" fmla="*/ 2724 h 128960"/>
                <a:gd name="connsiteX2" fmla="*/ 45124 w 93884"/>
                <a:gd name="connsiteY2" fmla="*/ 2724 h 128960"/>
                <a:gd name="connsiteX3" fmla="*/ 39788 w 93884"/>
                <a:gd name="connsiteY3" fmla="*/ 28492 h 128960"/>
                <a:gd name="connsiteX4" fmla="*/ 58836 w 93884"/>
                <a:gd name="connsiteY4" fmla="*/ 6881 h 128960"/>
                <a:gd name="connsiteX5" fmla="*/ 77885 w 93884"/>
                <a:gd name="connsiteY5" fmla="*/ -128 h 128960"/>
                <a:gd name="connsiteX6" fmla="*/ 93669 w 93884"/>
                <a:gd name="connsiteY6" fmla="*/ 4504 h 128960"/>
                <a:gd name="connsiteX7" fmla="*/ 84890 w 93884"/>
                <a:gd name="connsiteY7" fmla="*/ 24452 h 128960"/>
                <a:gd name="connsiteX8" fmla="*/ 72664 w 93884"/>
                <a:gd name="connsiteY8" fmla="*/ 20417 h 128960"/>
                <a:gd name="connsiteX9" fmla="*/ 49516 w 93884"/>
                <a:gd name="connsiteY9" fmla="*/ 33002 h 128960"/>
                <a:gd name="connsiteX10" fmla="*/ 30882 w 93884"/>
                <a:gd name="connsiteY10" fmla="*/ 78248 h 128960"/>
                <a:gd name="connsiteX11" fmla="*/ 20203 w 93884"/>
                <a:gd name="connsiteY11" fmla="*/ 128833 h 12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84" h="128960">
                  <a:moveTo>
                    <a:pt x="-216" y="128833"/>
                  </a:moveTo>
                  <a:lnTo>
                    <a:pt x="26136" y="2724"/>
                  </a:lnTo>
                  <a:lnTo>
                    <a:pt x="45124" y="2724"/>
                  </a:lnTo>
                  <a:lnTo>
                    <a:pt x="39788" y="28492"/>
                  </a:lnTo>
                  <a:cubicBezTo>
                    <a:pt x="44898" y="20284"/>
                    <a:pt x="51340" y="12983"/>
                    <a:pt x="58836" y="6881"/>
                  </a:cubicBezTo>
                  <a:cubicBezTo>
                    <a:pt x="64234" y="2503"/>
                    <a:pt x="70935" y="38"/>
                    <a:pt x="77885" y="-128"/>
                  </a:cubicBezTo>
                  <a:cubicBezTo>
                    <a:pt x="83426" y="226"/>
                    <a:pt x="88818" y="1807"/>
                    <a:pt x="93669" y="4504"/>
                  </a:cubicBezTo>
                  <a:lnTo>
                    <a:pt x="84890" y="24452"/>
                  </a:lnTo>
                  <a:cubicBezTo>
                    <a:pt x="81354" y="21826"/>
                    <a:pt x="77067" y="20412"/>
                    <a:pt x="72664" y="20417"/>
                  </a:cubicBezTo>
                  <a:cubicBezTo>
                    <a:pt x="65140" y="20417"/>
                    <a:pt x="57422" y="24612"/>
                    <a:pt x="49516" y="33002"/>
                  </a:cubicBezTo>
                  <a:cubicBezTo>
                    <a:pt x="41611" y="41393"/>
                    <a:pt x="35396" y="56476"/>
                    <a:pt x="30882" y="78248"/>
                  </a:cubicBezTo>
                  <a:lnTo>
                    <a:pt x="20203" y="12883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570645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aphic 3">
            <a:extLst>
              <a:ext uri="{FF2B5EF4-FFF2-40B4-BE49-F238E27FC236}">
                <a16:creationId xmlns:a16="http://schemas.microsoft.com/office/drawing/2014/main" xmlns="" id="{7FDEB4E8-FD64-4E1D-A51D-1595BFD1AD36}"/>
              </a:ext>
            </a:extLst>
          </p:cNvPr>
          <p:cNvGrpSpPr/>
          <p:nvPr userDrawn="1"/>
        </p:nvGrpSpPr>
        <p:grpSpPr>
          <a:xfrm>
            <a:off x="5156911" y="1931306"/>
            <a:ext cx="1879226" cy="1880122"/>
            <a:chOff x="5156911" y="1931306"/>
            <a:chExt cx="1879226" cy="1880122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345AD7A0-D696-4874-B76E-5E956391E267}"/>
                </a:ext>
              </a:extLst>
            </p:cNvPr>
            <p:cNvSpPr/>
            <p:nvPr/>
          </p:nvSpPr>
          <p:spPr>
            <a:xfrm>
              <a:off x="5156911" y="3153598"/>
              <a:ext cx="410663" cy="525526"/>
            </a:xfrm>
            <a:custGeom>
              <a:avLst/>
              <a:gdLst>
                <a:gd name="connsiteX0" fmla="*/ 93083 w 410663"/>
                <a:gd name="connsiteY0" fmla="*/ 296081 h 525526"/>
                <a:gd name="connsiteX1" fmla="*/ 93083 w 410663"/>
                <a:gd name="connsiteY1" fmla="*/ 525399 h 525526"/>
                <a:gd name="connsiteX2" fmla="*/ -216 w 410663"/>
                <a:gd name="connsiteY2" fmla="*/ 525399 h 525526"/>
                <a:gd name="connsiteX3" fmla="*/ -216 w 410663"/>
                <a:gd name="connsiteY3" fmla="*/ -128 h 525526"/>
                <a:gd name="connsiteX4" fmla="*/ 93083 w 410663"/>
                <a:gd name="connsiteY4" fmla="*/ -128 h 525526"/>
                <a:gd name="connsiteX5" fmla="*/ 93083 w 410663"/>
                <a:gd name="connsiteY5" fmla="*/ 213775 h 525526"/>
                <a:gd name="connsiteX6" fmla="*/ 317154 w 410663"/>
                <a:gd name="connsiteY6" fmla="*/ 213775 h 525526"/>
                <a:gd name="connsiteX7" fmla="*/ 317154 w 410663"/>
                <a:gd name="connsiteY7" fmla="*/ -128 h 525526"/>
                <a:gd name="connsiteX8" fmla="*/ 410448 w 410663"/>
                <a:gd name="connsiteY8" fmla="*/ -128 h 525526"/>
                <a:gd name="connsiteX9" fmla="*/ 410448 w 410663"/>
                <a:gd name="connsiteY9" fmla="*/ 525399 h 525526"/>
                <a:gd name="connsiteX10" fmla="*/ 317154 w 410663"/>
                <a:gd name="connsiteY10" fmla="*/ 525399 h 525526"/>
                <a:gd name="connsiteX11" fmla="*/ 317154 w 410663"/>
                <a:gd name="connsiteY11" fmla="*/ 296081 h 52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0663" h="525526">
                  <a:moveTo>
                    <a:pt x="93083" y="296081"/>
                  </a:moveTo>
                  <a:lnTo>
                    <a:pt x="93083" y="525399"/>
                  </a:lnTo>
                  <a:lnTo>
                    <a:pt x="-216" y="525399"/>
                  </a:lnTo>
                  <a:lnTo>
                    <a:pt x="-216" y="-128"/>
                  </a:lnTo>
                  <a:lnTo>
                    <a:pt x="93083" y="-128"/>
                  </a:lnTo>
                  <a:lnTo>
                    <a:pt x="93083" y="213775"/>
                  </a:lnTo>
                  <a:lnTo>
                    <a:pt x="317154" y="213775"/>
                  </a:lnTo>
                  <a:lnTo>
                    <a:pt x="317154" y="-128"/>
                  </a:lnTo>
                  <a:lnTo>
                    <a:pt x="410448" y="-128"/>
                  </a:lnTo>
                  <a:lnTo>
                    <a:pt x="410448" y="525399"/>
                  </a:lnTo>
                  <a:lnTo>
                    <a:pt x="317154" y="525399"/>
                  </a:lnTo>
                  <a:lnTo>
                    <a:pt x="317154" y="296081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77853CEE-6361-4B9B-BED6-010C543CB99B}"/>
                </a:ext>
              </a:extLst>
            </p:cNvPr>
            <p:cNvSpPr/>
            <p:nvPr/>
          </p:nvSpPr>
          <p:spPr>
            <a:xfrm>
              <a:off x="5602821" y="3293248"/>
              <a:ext cx="382758" cy="518180"/>
            </a:xfrm>
            <a:custGeom>
              <a:avLst/>
              <a:gdLst>
                <a:gd name="connsiteX0" fmla="*/ 85028 w 382758"/>
                <a:gd name="connsiteY0" fmla="*/ 518053 h 518180"/>
                <a:gd name="connsiteX1" fmla="*/ 145246 w 382758"/>
                <a:gd name="connsiteY1" fmla="*/ 375451 h 518180"/>
                <a:gd name="connsiteX2" fmla="*/ -216 w 382758"/>
                <a:gd name="connsiteY2" fmla="*/ -128 h 518180"/>
                <a:gd name="connsiteX3" fmla="*/ 98232 w 382758"/>
                <a:gd name="connsiteY3" fmla="*/ -128 h 518180"/>
                <a:gd name="connsiteX4" fmla="*/ 192266 w 382758"/>
                <a:gd name="connsiteY4" fmla="*/ 275498 h 518180"/>
                <a:gd name="connsiteX5" fmla="*/ 286305 w 382758"/>
                <a:gd name="connsiteY5" fmla="*/ -128 h 518180"/>
                <a:gd name="connsiteX6" fmla="*/ 382543 w 382758"/>
                <a:gd name="connsiteY6" fmla="*/ -128 h 518180"/>
                <a:gd name="connsiteX7" fmla="*/ 176106 w 382758"/>
                <a:gd name="connsiteY7" fmla="*/ 518048 h 51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2758" h="518180">
                  <a:moveTo>
                    <a:pt x="85028" y="518053"/>
                  </a:moveTo>
                  <a:lnTo>
                    <a:pt x="145246" y="375451"/>
                  </a:lnTo>
                  <a:cubicBezTo>
                    <a:pt x="101166" y="258590"/>
                    <a:pt x="47539" y="121145"/>
                    <a:pt x="-216" y="-128"/>
                  </a:cubicBezTo>
                  <a:lnTo>
                    <a:pt x="98232" y="-128"/>
                  </a:lnTo>
                  <a:cubicBezTo>
                    <a:pt x="140843" y="122615"/>
                    <a:pt x="165079" y="199791"/>
                    <a:pt x="192266" y="275498"/>
                  </a:cubicBezTo>
                  <a:cubicBezTo>
                    <a:pt x="215778" y="211548"/>
                    <a:pt x="254693" y="91010"/>
                    <a:pt x="286305" y="-128"/>
                  </a:cubicBezTo>
                  <a:lnTo>
                    <a:pt x="382543" y="-128"/>
                  </a:lnTo>
                  <a:cubicBezTo>
                    <a:pt x="314955" y="170392"/>
                    <a:pt x="248103" y="341647"/>
                    <a:pt x="176106" y="518048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7B515AAC-4EAA-4830-98A5-01D5C39123B6}"/>
                </a:ext>
              </a:extLst>
            </p:cNvPr>
            <p:cNvSpPr/>
            <p:nvPr/>
          </p:nvSpPr>
          <p:spPr>
            <a:xfrm>
              <a:off x="5975309" y="3153598"/>
              <a:ext cx="395238" cy="534347"/>
            </a:xfrm>
            <a:custGeom>
              <a:avLst/>
              <a:gdLst>
                <a:gd name="connsiteX0" fmla="*/ 310536 w 395238"/>
                <a:gd name="connsiteY0" fmla="*/ 525399 h 534347"/>
                <a:gd name="connsiteX1" fmla="*/ 310536 w 395238"/>
                <a:gd name="connsiteY1" fmla="*/ 471011 h 534347"/>
                <a:gd name="connsiteX2" fmla="*/ 177570 w 395238"/>
                <a:gd name="connsiteY2" fmla="*/ 534220 h 534347"/>
                <a:gd name="connsiteX3" fmla="*/ -216 w 395238"/>
                <a:gd name="connsiteY3" fmla="*/ 331372 h 534347"/>
                <a:gd name="connsiteX4" fmla="*/ 179769 w 395238"/>
                <a:gd name="connsiteY4" fmla="*/ 127042 h 534347"/>
                <a:gd name="connsiteX5" fmla="*/ 306133 w 395238"/>
                <a:gd name="connsiteY5" fmla="*/ 188781 h 534347"/>
                <a:gd name="connsiteX6" fmla="*/ 305398 w 395238"/>
                <a:gd name="connsiteY6" fmla="*/ 112346 h 534347"/>
                <a:gd name="connsiteX7" fmla="*/ 305398 w 395238"/>
                <a:gd name="connsiteY7" fmla="*/ -128 h 534347"/>
                <a:gd name="connsiteX8" fmla="*/ 395023 w 395238"/>
                <a:gd name="connsiteY8" fmla="*/ -128 h 534347"/>
                <a:gd name="connsiteX9" fmla="*/ 395023 w 395238"/>
                <a:gd name="connsiteY9" fmla="*/ 525399 h 534347"/>
                <a:gd name="connsiteX10" fmla="*/ 91614 w 395238"/>
                <a:gd name="connsiteY10" fmla="*/ 332831 h 534347"/>
                <a:gd name="connsiteX11" fmla="*/ 198138 w 395238"/>
                <a:gd name="connsiteY11" fmla="*/ 461455 h 534347"/>
                <a:gd name="connsiteX12" fmla="*/ 309801 w 395238"/>
                <a:gd name="connsiteY12" fmla="*/ 329907 h 534347"/>
                <a:gd name="connsiteX13" fmla="*/ 198873 w 395238"/>
                <a:gd name="connsiteY13" fmla="*/ 201284 h 534347"/>
                <a:gd name="connsiteX14" fmla="*/ 91614 w 395238"/>
                <a:gd name="connsiteY14" fmla="*/ 332831 h 53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238" h="534347">
                  <a:moveTo>
                    <a:pt x="310536" y="525399"/>
                  </a:moveTo>
                  <a:lnTo>
                    <a:pt x="310536" y="471011"/>
                  </a:lnTo>
                  <a:cubicBezTo>
                    <a:pt x="288498" y="504821"/>
                    <a:pt x="243688" y="534220"/>
                    <a:pt x="177570" y="534220"/>
                  </a:cubicBezTo>
                  <a:cubicBezTo>
                    <a:pt x="72510" y="534220"/>
                    <a:pt x="-216" y="451904"/>
                    <a:pt x="-216" y="331372"/>
                  </a:cubicBezTo>
                  <a:cubicBezTo>
                    <a:pt x="-216" y="214510"/>
                    <a:pt x="69576" y="127042"/>
                    <a:pt x="179769" y="127042"/>
                  </a:cubicBezTo>
                  <a:cubicBezTo>
                    <a:pt x="240744" y="127042"/>
                    <a:pt x="284830" y="157177"/>
                    <a:pt x="306133" y="188781"/>
                  </a:cubicBezTo>
                  <a:cubicBezTo>
                    <a:pt x="305398" y="161587"/>
                    <a:pt x="305398" y="138804"/>
                    <a:pt x="305398" y="112346"/>
                  </a:cubicBezTo>
                  <a:lnTo>
                    <a:pt x="305398" y="-128"/>
                  </a:lnTo>
                  <a:lnTo>
                    <a:pt x="395023" y="-128"/>
                  </a:lnTo>
                  <a:lnTo>
                    <a:pt x="395023" y="525399"/>
                  </a:lnTo>
                  <a:close/>
                  <a:moveTo>
                    <a:pt x="91614" y="332831"/>
                  </a:moveTo>
                  <a:cubicBezTo>
                    <a:pt x="91614" y="406343"/>
                    <a:pt x="131286" y="461455"/>
                    <a:pt x="198138" y="461455"/>
                  </a:cubicBezTo>
                  <a:cubicBezTo>
                    <a:pt x="267930" y="461455"/>
                    <a:pt x="309801" y="405597"/>
                    <a:pt x="309801" y="329907"/>
                  </a:cubicBezTo>
                  <a:cubicBezTo>
                    <a:pt x="309801" y="255671"/>
                    <a:pt x="263522" y="201284"/>
                    <a:pt x="198873" y="201284"/>
                  </a:cubicBezTo>
                  <a:cubicBezTo>
                    <a:pt x="131286" y="201267"/>
                    <a:pt x="91614" y="259330"/>
                    <a:pt x="91614" y="33283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F5FE2357-ED83-476A-A53D-08D1139156D7}"/>
                </a:ext>
              </a:extLst>
            </p:cNvPr>
            <p:cNvSpPr/>
            <p:nvPr/>
          </p:nvSpPr>
          <p:spPr>
            <a:xfrm>
              <a:off x="6427854" y="3283695"/>
              <a:ext cx="198354" cy="395429"/>
            </a:xfrm>
            <a:custGeom>
              <a:avLst/>
              <a:gdLst>
                <a:gd name="connsiteX0" fmla="*/ 84266 w 198354"/>
                <a:gd name="connsiteY0" fmla="*/ 8696 h 395429"/>
                <a:gd name="connsiteX1" fmla="*/ 84266 w 198354"/>
                <a:gd name="connsiteY1" fmla="*/ 35155 h 395429"/>
                <a:gd name="connsiteX2" fmla="*/ 83537 w 198354"/>
                <a:gd name="connsiteY2" fmla="*/ 60878 h 395429"/>
                <a:gd name="connsiteX3" fmla="*/ 176835 w 198354"/>
                <a:gd name="connsiteY3" fmla="*/ -125 h 395429"/>
                <a:gd name="connsiteX4" fmla="*/ 198138 w 198354"/>
                <a:gd name="connsiteY4" fmla="*/ 1345 h 395429"/>
                <a:gd name="connsiteX5" fmla="*/ 198138 w 198354"/>
                <a:gd name="connsiteY5" fmla="*/ 86607 h 395429"/>
                <a:gd name="connsiteX6" fmla="*/ 172427 w 198354"/>
                <a:gd name="connsiteY6" fmla="*/ 83667 h 395429"/>
                <a:gd name="connsiteX7" fmla="*/ 90144 w 198354"/>
                <a:gd name="connsiteY7" fmla="*/ 213004 h 395429"/>
                <a:gd name="connsiteX8" fmla="*/ 90144 w 198354"/>
                <a:gd name="connsiteY8" fmla="*/ 395302 h 395429"/>
                <a:gd name="connsiteX9" fmla="*/ 519 w 198354"/>
                <a:gd name="connsiteY9" fmla="*/ 395302 h 395429"/>
                <a:gd name="connsiteX10" fmla="*/ 519 w 198354"/>
                <a:gd name="connsiteY10" fmla="*/ 78521 h 395429"/>
                <a:gd name="connsiteX11" fmla="*/ -216 w 198354"/>
                <a:gd name="connsiteY11" fmla="*/ 8696 h 39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354" h="395429">
                  <a:moveTo>
                    <a:pt x="84266" y="8696"/>
                  </a:moveTo>
                  <a:lnTo>
                    <a:pt x="84266" y="35155"/>
                  </a:lnTo>
                  <a:cubicBezTo>
                    <a:pt x="84266" y="43998"/>
                    <a:pt x="84266" y="52792"/>
                    <a:pt x="83537" y="60878"/>
                  </a:cubicBezTo>
                  <a:cubicBezTo>
                    <a:pt x="96757" y="21928"/>
                    <a:pt x="132755" y="-125"/>
                    <a:pt x="176835" y="-125"/>
                  </a:cubicBezTo>
                  <a:cubicBezTo>
                    <a:pt x="183962" y="-164"/>
                    <a:pt x="191083" y="328"/>
                    <a:pt x="198138" y="1345"/>
                  </a:cubicBezTo>
                  <a:lnTo>
                    <a:pt x="198138" y="86607"/>
                  </a:lnTo>
                  <a:cubicBezTo>
                    <a:pt x="189752" y="84413"/>
                    <a:pt x="181095" y="83424"/>
                    <a:pt x="172427" y="83667"/>
                  </a:cubicBezTo>
                  <a:cubicBezTo>
                    <a:pt x="102635" y="83667"/>
                    <a:pt x="90144" y="133644"/>
                    <a:pt x="90144" y="213004"/>
                  </a:cubicBezTo>
                  <a:lnTo>
                    <a:pt x="90144" y="395302"/>
                  </a:lnTo>
                  <a:lnTo>
                    <a:pt x="519" y="395302"/>
                  </a:lnTo>
                  <a:lnTo>
                    <a:pt x="519" y="78521"/>
                  </a:lnTo>
                  <a:cubicBezTo>
                    <a:pt x="519" y="54268"/>
                    <a:pt x="519" y="32214"/>
                    <a:pt x="-216" y="8696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CF2C96C7-C4B4-43D5-A03F-ECD6DEDC1882}"/>
                </a:ext>
              </a:extLst>
            </p:cNvPr>
            <p:cNvSpPr/>
            <p:nvPr/>
          </p:nvSpPr>
          <p:spPr>
            <a:xfrm>
              <a:off x="6632816" y="3280022"/>
              <a:ext cx="403321" cy="410864"/>
            </a:xfrm>
            <a:custGeom>
              <a:avLst/>
              <a:gdLst>
                <a:gd name="connsiteX0" fmla="*/ 403105 w 403321"/>
                <a:gd name="connsiteY0" fmla="*/ 206408 h 410864"/>
                <a:gd name="connsiteX1" fmla="*/ 199608 w 403321"/>
                <a:gd name="connsiteY1" fmla="*/ 410737 h 410864"/>
                <a:gd name="connsiteX2" fmla="*/ -216 w 403321"/>
                <a:gd name="connsiteY2" fmla="*/ 206408 h 410864"/>
                <a:gd name="connsiteX3" fmla="*/ 201078 w 403321"/>
                <a:gd name="connsiteY3" fmla="*/ -128 h 410864"/>
                <a:gd name="connsiteX4" fmla="*/ 403105 w 403321"/>
                <a:gd name="connsiteY4" fmla="*/ 206408 h 410864"/>
                <a:gd name="connsiteX5" fmla="*/ 91614 w 403321"/>
                <a:gd name="connsiteY5" fmla="*/ 205672 h 410864"/>
                <a:gd name="connsiteX6" fmla="*/ 199608 w 403321"/>
                <a:gd name="connsiteY6" fmla="*/ 335766 h 410864"/>
                <a:gd name="connsiteX7" fmla="*/ 308332 w 403321"/>
                <a:gd name="connsiteY7" fmla="*/ 205672 h 410864"/>
                <a:gd name="connsiteX8" fmla="*/ 199608 w 403321"/>
                <a:gd name="connsiteY8" fmla="*/ 74843 h 410864"/>
                <a:gd name="connsiteX9" fmla="*/ 91614 w 403321"/>
                <a:gd name="connsiteY9" fmla="*/ 205672 h 410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321" h="410864">
                  <a:moveTo>
                    <a:pt x="403105" y="206408"/>
                  </a:moveTo>
                  <a:cubicBezTo>
                    <a:pt x="403105" y="325480"/>
                    <a:pt x="324496" y="410737"/>
                    <a:pt x="199608" y="410737"/>
                  </a:cubicBezTo>
                  <a:cubicBezTo>
                    <a:pt x="75449" y="410737"/>
                    <a:pt x="-216" y="324745"/>
                    <a:pt x="-216" y="206408"/>
                  </a:cubicBezTo>
                  <a:cubicBezTo>
                    <a:pt x="-216" y="85135"/>
                    <a:pt x="79857" y="-128"/>
                    <a:pt x="201078" y="-128"/>
                  </a:cubicBezTo>
                  <a:cubicBezTo>
                    <a:pt x="323027" y="-128"/>
                    <a:pt x="403105" y="85141"/>
                    <a:pt x="403105" y="206408"/>
                  </a:cubicBezTo>
                  <a:close/>
                  <a:moveTo>
                    <a:pt x="91614" y="205672"/>
                  </a:moveTo>
                  <a:cubicBezTo>
                    <a:pt x="91614" y="284313"/>
                    <a:pt x="132020" y="335766"/>
                    <a:pt x="199608" y="335766"/>
                  </a:cubicBezTo>
                  <a:cubicBezTo>
                    <a:pt x="267930" y="335766"/>
                    <a:pt x="308332" y="284313"/>
                    <a:pt x="308332" y="205672"/>
                  </a:cubicBezTo>
                  <a:cubicBezTo>
                    <a:pt x="308332" y="129231"/>
                    <a:pt x="267195" y="74843"/>
                    <a:pt x="199608" y="74843"/>
                  </a:cubicBezTo>
                  <a:cubicBezTo>
                    <a:pt x="132749" y="74843"/>
                    <a:pt x="91614" y="129231"/>
                    <a:pt x="91614" y="20567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81DE85CF-9F92-4E29-8ED4-9EBFFE17A045}"/>
                </a:ext>
              </a:extLst>
            </p:cNvPr>
            <p:cNvSpPr/>
            <p:nvPr/>
          </p:nvSpPr>
          <p:spPr>
            <a:xfrm>
              <a:off x="5604055" y="1931306"/>
              <a:ext cx="985320" cy="986163"/>
            </a:xfrm>
            <a:custGeom>
              <a:avLst/>
              <a:gdLst>
                <a:gd name="connsiteX0" fmla="*/ 492253 w 985320"/>
                <a:gd name="connsiteY0" fmla="*/ -128 h 986163"/>
                <a:gd name="connsiteX1" fmla="*/ 24625 w 985320"/>
                <a:gd name="connsiteY1" fmla="*/ -128 h 986163"/>
                <a:gd name="connsiteX2" fmla="*/ -213 w 985320"/>
                <a:gd name="connsiteY2" fmla="*/ 25469 h 986163"/>
                <a:gd name="connsiteX3" fmla="*/ 24625 w 985320"/>
                <a:gd name="connsiteY3" fmla="*/ 50319 h 986163"/>
                <a:gd name="connsiteX4" fmla="*/ 467049 w 985320"/>
                <a:gd name="connsiteY4" fmla="*/ 492954 h 986163"/>
                <a:gd name="connsiteX5" fmla="*/ 24625 w 985320"/>
                <a:gd name="connsiteY5" fmla="*/ 935589 h 986163"/>
                <a:gd name="connsiteX6" fmla="*/ -213 w 985320"/>
                <a:gd name="connsiteY6" fmla="*/ 961186 h 986163"/>
                <a:gd name="connsiteX7" fmla="*/ 24625 w 985320"/>
                <a:gd name="connsiteY7" fmla="*/ 986036 h 986163"/>
                <a:gd name="connsiteX8" fmla="*/ 492258 w 985320"/>
                <a:gd name="connsiteY8" fmla="*/ 986036 h 986163"/>
                <a:gd name="connsiteX9" fmla="*/ 985105 w 985320"/>
                <a:gd name="connsiteY9" fmla="*/ 492954 h 986163"/>
                <a:gd name="connsiteX10" fmla="*/ 492258 w 985320"/>
                <a:gd name="connsiteY10" fmla="*/ -128 h 986163"/>
                <a:gd name="connsiteX11" fmla="*/ 409307 w 985320"/>
                <a:gd name="connsiteY11" fmla="*/ 929471 h 986163"/>
                <a:gd name="connsiteX12" fmla="*/ 617130 w 985320"/>
                <a:gd name="connsiteY12" fmla="*/ 264360 h 986163"/>
                <a:gd name="connsiteX13" fmla="*/ 409307 w 985320"/>
                <a:gd name="connsiteY13" fmla="*/ 56438 h 986163"/>
                <a:gd name="connsiteX14" fmla="*/ 772773 w 985320"/>
                <a:gd name="connsiteY14" fmla="*/ 565831 h 986163"/>
                <a:gd name="connsiteX15" fmla="*/ 409307 w 985320"/>
                <a:gd name="connsiteY15" fmla="*/ 929471 h 986163"/>
                <a:gd name="connsiteX16" fmla="*/ 517467 w 985320"/>
                <a:gd name="connsiteY16" fmla="*/ 492954 h 986163"/>
                <a:gd name="connsiteX17" fmla="*/ 253646 w 985320"/>
                <a:gd name="connsiteY17" fmla="*/ 56477 h 986163"/>
                <a:gd name="connsiteX18" fmla="*/ 616843 w 985320"/>
                <a:gd name="connsiteY18" fmla="*/ 566063 h 986163"/>
                <a:gd name="connsiteX19" fmla="*/ 253646 w 985320"/>
                <a:gd name="connsiteY19" fmla="*/ 929432 h 986163"/>
                <a:gd name="connsiteX20" fmla="*/ 517467 w 985320"/>
                <a:gd name="connsiteY20" fmla="*/ 492954 h 986163"/>
                <a:gd name="connsiteX21" fmla="*/ 565182 w 985320"/>
                <a:gd name="connsiteY21" fmla="*/ 929471 h 986163"/>
                <a:gd name="connsiteX22" fmla="*/ 773017 w 985320"/>
                <a:gd name="connsiteY22" fmla="*/ 264371 h 986163"/>
                <a:gd name="connsiteX23" fmla="*/ 565182 w 985320"/>
                <a:gd name="connsiteY23" fmla="*/ 56438 h 986163"/>
                <a:gd name="connsiteX24" fmla="*/ 928649 w 985320"/>
                <a:gd name="connsiteY24" fmla="*/ 565831 h 986163"/>
                <a:gd name="connsiteX25" fmla="*/ 565182 w 985320"/>
                <a:gd name="connsiteY25" fmla="*/ 929471 h 98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85320" h="986163">
                  <a:moveTo>
                    <a:pt x="492253" y="-128"/>
                  </a:moveTo>
                  <a:lnTo>
                    <a:pt x="24625" y="-128"/>
                  </a:lnTo>
                  <a:cubicBezTo>
                    <a:pt x="10704" y="77"/>
                    <a:pt x="-417" y="11540"/>
                    <a:pt x="-213" y="25469"/>
                  </a:cubicBezTo>
                  <a:cubicBezTo>
                    <a:pt x="-9" y="39110"/>
                    <a:pt x="10991" y="50115"/>
                    <a:pt x="24625" y="50319"/>
                  </a:cubicBezTo>
                  <a:cubicBezTo>
                    <a:pt x="268972" y="50319"/>
                    <a:pt x="467049" y="248492"/>
                    <a:pt x="467049" y="492954"/>
                  </a:cubicBezTo>
                  <a:cubicBezTo>
                    <a:pt x="467049" y="737417"/>
                    <a:pt x="268972" y="935589"/>
                    <a:pt x="24625" y="935589"/>
                  </a:cubicBezTo>
                  <a:cubicBezTo>
                    <a:pt x="10704" y="935794"/>
                    <a:pt x="-417" y="947257"/>
                    <a:pt x="-213" y="961186"/>
                  </a:cubicBezTo>
                  <a:cubicBezTo>
                    <a:pt x="-9" y="974827"/>
                    <a:pt x="10991" y="985832"/>
                    <a:pt x="24625" y="986036"/>
                  </a:cubicBezTo>
                  <a:lnTo>
                    <a:pt x="492258" y="986036"/>
                  </a:lnTo>
                  <a:cubicBezTo>
                    <a:pt x="764448" y="986036"/>
                    <a:pt x="985105" y="765274"/>
                    <a:pt x="985105" y="492954"/>
                  </a:cubicBezTo>
                  <a:cubicBezTo>
                    <a:pt x="985105" y="220635"/>
                    <a:pt x="764448" y="-128"/>
                    <a:pt x="492258" y="-128"/>
                  </a:cubicBezTo>
                  <a:close/>
                  <a:moveTo>
                    <a:pt x="409307" y="929471"/>
                  </a:moveTo>
                  <a:cubicBezTo>
                    <a:pt x="650272" y="803219"/>
                    <a:pt x="743317" y="505440"/>
                    <a:pt x="617130" y="264360"/>
                  </a:cubicBezTo>
                  <a:cubicBezTo>
                    <a:pt x="570619" y="175505"/>
                    <a:pt x="498120" y="102966"/>
                    <a:pt x="409307" y="56438"/>
                  </a:cubicBezTo>
                  <a:cubicBezTo>
                    <a:pt x="650272" y="96687"/>
                    <a:pt x="813003" y="324745"/>
                    <a:pt x="772773" y="565831"/>
                  </a:cubicBezTo>
                  <a:cubicBezTo>
                    <a:pt x="741665" y="752258"/>
                    <a:pt x="595650" y="898347"/>
                    <a:pt x="409307" y="929471"/>
                  </a:cubicBezTo>
                  <a:close/>
                  <a:moveTo>
                    <a:pt x="517467" y="492954"/>
                  </a:moveTo>
                  <a:cubicBezTo>
                    <a:pt x="517323" y="309750"/>
                    <a:pt x="415748" y="141695"/>
                    <a:pt x="253646" y="56477"/>
                  </a:cubicBezTo>
                  <a:cubicBezTo>
                    <a:pt x="494590" y="96853"/>
                    <a:pt x="657200" y="324999"/>
                    <a:pt x="616843" y="566063"/>
                  </a:cubicBezTo>
                  <a:cubicBezTo>
                    <a:pt x="585668" y="752302"/>
                    <a:pt x="439802" y="898237"/>
                    <a:pt x="253646" y="929432"/>
                  </a:cubicBezTo>
                  <a:cubicBezTo>
                    <a:pt x="415748" y="844214"/>
                    <a:pt x="517323" y="676159"/>
                    <a:pt x="517467" y="492954"/>
                  </a:cubicBezTo>
                  <a:close/>
                  <a:moveTo>
                    <a:pt x="565182" y="929471"/>
                  </a:moveTo>
                  <a:cubicBezTo>
                    <a:pt x="806147" y="803230"/>
                    <a:pt x="899198" y="505451"/>
                    <a:pt x="773017" y="264371"/>
                  </a:cubicBezTo>
                  <a:cubicBezTo>
                    <a:pt x="726505" y="175510"/>
                    <a:pt x="654001" y="102971"/>
                    <a:pt x="565182" y="56438"/>
                  </a:cubicBezTo>
                  <a:cubicBezTo>
                    <a:pt x="806147" y="96687"/>
                    <a:pt x="968879" y="324745"/>
                    <a:pt x="928649" y="565831"/>
                  </a:cubicBezTo>
                  <a:cubicBezTo>
                    <a:pt x="897540" y="752258"/>
                    <a:pt x="751526" y="898347"/>
                    <a:pt x="565182" y="92947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92277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Aluminium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aphic 2">
            <a:extLst>
              <a:ext uri="{FF2B5EF4-FFF2-40B4-BE49-F238E27FC236}">
                <a16:creationId xmlns:a16="http://schemas.microsoft.com/office/drawing/2014/main" xmlns="" id="{E5231ACE-837E-499B-98D0-4BA58DCCA58A}"/>
              </a:ext>
            </a:extLst>
          </p:cNvPr>
          <p:cNvGrpSpPr/>
          <p:nvPr/>
        </p:nvGrpSpPr>
        <p:grpSpPr>
          <a:xfrm>
            <a:off x="4586775" y="1931307"/>
            <a:ext cx="3007691" cy="2782738"/>
            <a:chOff x="4586775" y="1931307"/>
            <a:chExt cx="3007691" cy="2782738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D1D1DEAB-942E-43F4-AE3E-2271F58CFDA2}"/>
                </a:ext>
              </a:extLst>
            </p:cNvPr>
            <p:cNvSpPr/>
            <p:nvPr/>
          </p:nvSpPr>
          <p:spPr>
            <a:xfrm>
              <a:off x="5152743" y="3159610"/>
              <a:ext cx="413260" cy="528103"/>
            </a:xfrm>
            <a:custGeom>
              <a:avLst/>
              <a:gdLst>
                <a:gd name="connsiteX0" fmla="*/ 93740 w 413260"/>
                <a:gd name="connsiteY0" fmla="*/ 297562 h 528103"/>
                <a:gd name="connsiteX1" fmla="*/ 93740 w 413260"/>
                <a:gd name="connsiteY1" fmla="*/ 528001 h 528103"/>
                <a:gd name="connsiteX2" fmla="*/ -149 w 413260"/>
                <a:gd name="connsiteY2" fmla="*/ 528001 h 528103"/>
                <a:gd name="connsiteX3" fmla="*/ -149 w 413260"/>
                <a:gd name="connsiteY3" fmla="*/ -102 h 528103"/>
                <a:gd name="connsiteX4" fmla="*/ 93740 w 413260"/>
                <a:gd name="connsiteY4" fmla="*/ -102 h 528103"/>
                <a:gd name="connsiteX5" fmla="*/ 93740 w 413260"/>
                <a:gd name="connsiteY5" fmla="*/ 214852 h 528103"/>
                <a:gd name="connsiteX6" fmla="*/ 319228 w 413260"/>
                <a:gd name="connsiteY6" fmla="*/ 214852 h 528103"/>
                <a:gd name="connsiteX7" fmla="*/ 319228 w 413260"/>
                <a:gd name="connsiteY7" fmla="*/ -102 h 528103"/>
                <a:gd name="connsiteX8" fmla="*/ 413111 w 413260"/>
                <a:gd name="connsiteY8" fmla="*/ -102 h 528103"/>
                <a:gd name="connsiteX9" fmla="*/ 413111 w 413260"/>
                <a:gd name="connsiteY9" fmla="*/ 528001 h 528103"/>
                <a:gd name="connsiteX10" fmla="*/ 319228 w 413260"/>
                <a:gd name="connsiteY10" fmla="*/ 528001 h 528103"/>
                <a:gd name="connsiteX11" fmla="*/ 319228 w 413260"/>
                <a:gd name="connsiteY11" fmla="*/ 297562 h 5281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3260" h="528103">
                  <a:moveTo>
                    <a:pt x="93740" y="297562"/>
                  </a:moveTo>
                  <a:lnTo>
                    <a:pt x="93740" y="528001"/>
                  </a:lnTo>
                  <a:lnTo>
                    <a:pt x="-149" y="528001"/>
                  </a:lnTo>
                  <a:lnTo>
                    <a:pt x="-149" y="-102"/>
                  </a:lnTo>
                  <a:lnTo>
                    <a:pt x="93740" y="-102"/>
                  </a:lnTo>
                  <a:lnTo>
                    <a:pt x="93740" y="214852"/>
                  </a:lnTo>
                  <a:lnTo>
                    <a:pt x="319228" y="214852"/>
                  </a:lnTo>
                  <a:lnTo>
                    <a:pt x="319228" y="-102"/>
                  </a:lnTo>
                  <a:lnTo>
                    <a:pt x="413111" y="-102"/>
                  </a:lnTo>
                  <a:lnTo>
                    <a:pt x="413111" y="528001"/>
                  </a:lnTo>
                  <a:lnTo>
                    <a:pt x="319228" y="528001"/>
                  </a:lnTo>
                  <a:lnTo>
                    <a:pt x="319228" y="29756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C30EF7F2-66E5-4515-B2C3-B236289234E3}"/>
                </a:ext>
              </a:extLst>
            </p:cNvPr>
            <p:cNvSpPr/>
            <p:nvPr/>
          </p:nvSpPr>
          <p:spPr>
            <a:xfrm>
              <a:off x="5601473" y="3299936"/>
              <a:ext cx="385179" cy="520733"/>
            </a:xfrm>
            <a:custGeom>
              <a:avLst/>
              <a:gdLst>
                <a:gd name="connsiteX0" fmla="*/ 85634 w 385179"/>
                <a:gd name="connsiteY0" fmla="*/ 520631 h 520733"/>
                <a:gd name="connsiteX1" fmla="*/ 146233 w 385179"/>
                <a:gd name="connsiteY1" fmla="*/ 377328 h 520733"/>
                <a:gd name="connsiteX2" fmla="*/ -149 w 385179"/>
                <a:gd name="connsiteY2" fmla="*/ -102 h 520733"/>
                <a:gd name="connsiteX3" fmla="*/ 98921 w 385179"/>
                <a:gd name="connsiteY3" fmla="*/ -102 h 520733"/>
                <a:gd name="connsiteX4" fmla="*/ 193550 w 385179"/>
                <a:gd name="connsiteY4" fmla="*/ 276877 h 520733"/>
                <a:gd name="connsiteX5" fmla="*/ 288183 w 385179"/>
                <a:gd name="connsiteY5" fmla="*/ -102 h 520733"/>
                <a:gd name="connsiteX6" fmla="*/ 385030 w 385179"/>
                <a:gd name="connsiteY6" fmla="*/ -102 h 520733"/>
                <a:gd name="connsiteX7" fmla="*/ 177288 w 385179"/>
                <a:gd name="connsiteY7" fmla="*/ 520620 h 520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5179" h="520733">
                  <a:moveTo>
                    <a:pt x="85634" y="520631"/>
                  </a:moveTo>
                  <a:lnTo>
                    <a:pt x="146233" y="377328"/>
                  </a:lnTo>
                  <a:cubicBezTo>
                    <a:pt x="101873" y="259887"/>
                    <a:pt x="47907" y="121766"/>
                    <a:pt x="-149" y="-102"/>
                  </a:cubicBezTo>
                  <a:lnTo>
                    <a:pt x="98921" y="-102"/>
                  </a:lnTo>
                  <a:cubicBezTo>
                    <a:pt x="141802" y="123243"/>
                    <a:pt x="166191" y="200799"/>
                    <a:pt x="193550" y="276877"/>
                  </a:cubicBezTo>
                  <a:cubicBezTo>
                    <a:pt x="217211" y="212613"/>
                    <a:pt x="256372" y="91484"/>
                    <a:pt x="288183" y="-102"/>
                  </a:cubicBezTo>
                  <a:lnTo>
                    <a:pt x="385030" y="-102"/>
                  </a:lnTo>
                  <a:cubicBezTo>
                    <a:pt x="317015" y="171256"/>
                    <a:pt x="249740" y="343352"/>
                    <a:pt x="177288" y="520620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9F5DB5C6-0E88-4D54-B7F3-B55809D74AB2}"/>
                </a:ext>
              </a:extLst>
            </p:cNvPr>
            <p:cNvSpPr/>
            <p:nvPr/>
          </p:nvSpPr>
          <p:spPr>
            <a:xfrm>
              <a:off x="5976317" y="3159610"/>
              <a:ext cx="397737" cy="536968"/>
            </a:xfrm>
            <a:custGeom>
              <a:avLst/>
              <a:gdLst>
                <a:gd name="connsiteX0" fmla="*/ 312567 w 397737"/>
                <a:gd name="connsiteY0" fmla="*/ 528001 h 536968"/>
                <a:gd name="connsiteX1" fmla="*/ 312567 w 397737"/>
                <a:gd name="connsiteY1" fmla="*/ 473346 h 536968"/>
                <a:gd name="connsiteX2" fmla="*/ 178761 w 397737"/>
                <a:gd name="connsiteY2" fmla="*/ 536866 h 536968"/>
                <a:gd name="connsiteX3" fmla="*/ -149 w 397737"/>
                <a:gd name="connsiteY3" fmla="*/ 333021 h 536968"/>
                <a:gd name="connsiteX4" fmla="*/ 180974 w 397737"/>
                <a:gd name="connsiteY4" fmla="*/ 127687 h 536968"/>
                <a:gd name="connsiteX5" fmla="*/ 308136 w 397737"/>
                <a:gd name="connsiteY5" fmla="*/ 189729 h 536968"/>
                <a:gd name="connsiteX6" fmla="*/ 307397 w 397737"/>
                <a:gd name="connsiteY6" fmla="*/ 112918 h 536968"/>
                <a:gd name="connsiteX7" fmla="*/ 307397 w 397737"/>
                <a:gd name="connsiteY7" fmla="*/ -102 h 536968"/>
                <a:gd name="connsiteX8" fmla="*/ 397589 w 397737"/>
                <a:gd name="connsiteY8" fmla="*/ -102 h 536968"/>
                <a:gd name="connsiteX9" fmla="*/ 397589 w 397737"/>
                <a:gd name="connsiteY9" fmla="*/ 528001 h 536968"/>
                <a:gd name="connsiteX10" fmla="*/ 92261 w 397737"/>
                <a:gd name="connsiteY10" fmla="*/ 334487 h 536968"/>
                <a:gd name="connsiteX11" fmla="*/ 199459 w 397737"/>
                <a:gd name="connsiteY11" fmla="*/ 463743 h 536968"/>
                <a:gd name="connsiteX12" fmla="*/ 311828 w 397737"/>
                <a:gd name="connsiteY12" fmla="*/ 331549 h 536968"/>
                <a:gd name="connsiteX13" fmla="*/ 200199 w 397737"/>
                <a:gd name="connsiteY13" fmla="*/ 202293 h 536968"/>
                <a:gd name="connsiteX14" fmla="*/ 92261 w 397737"/>
                <a:gd name="connsiteY14" fmla="*/ 334487 h 536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7737" h="536968">
                  <a:moveTo>
                    <a:pt x="312567" y="528001"/>
                  </a:moveTo>
                  <a:lnTo>
                    <a:pt x="312567" y="473346"/>
                  </a:lnTo>
                  <a:cubicBezTo>
                    <a:pt x="290391" y="507323"/>
                    <a:pt x="245298" y="536866"/>
                    <a:pt x="178761" y="536866"/>
                  </a:cubicBezTo>
                  <a:cubicBezTo>
                    <a:pt x="73036" y="536866"/>
                    <a:pt x="-149" y="454145"/>
                    <a:pt x="-149" y="333021"/>
                  </a:cubicBezTo>
                  <a:cubicBezTo>
                    <a:pt x="-149" y="215585"/>
                    <a:pt x="70084" y="127687"/>
                    <a:pt x="180974" y="127687"/>
                  </a:cubicBezTo>
                  <a:cubicBezTo>
                    <a:pt x="242334" y="127687"/>
                    <a:pt x="286699" y="157969"/>
                    <a:pt x="308136" y="189729"/>
                  </a:cubicBezTo>
                  <a:cubicBezTo>
                    <a:pt x="307397" y="162402"/>
                    <a:pt x="307397" y="139507"/>
                    <a:pt x="307397" y="112918"/>
                  </a:cubicBezTo>
                  <a:lnTo>
                    <a:pt x="307397" y="-102"/>
                  </a:lnTo>
                  <a:lnTo>
                    <a:pt x="397589" y="-102"/>
                  </a:lnTo>
                  <a:lnTo>
                    <a:pt x="397589" y="528001"/>
                  </a:lnTo>
                  <a:close/>
                  <a:moveTo>
                    <a:pt x="92261" y="334487"/>
                  </a:moveTo>
                  <a:cubicBezTo>
                    <a:pt x="92261" y="408360"/>
                    <a:pt x="132184" y="463743"/>
                    <a:pt x="199459" y="463743"/>
                  </a:cubicBezTo>
                  <a:cubicBezTo>
                    <a:pt x="269692" y="463743"/>
                    <a:pt x="311828" y="407611"/>
                    <a:pt x="311828" y="331549"/>
                  </a:cubicBezTo>
                  <a:cubicBezTo>
                    <a:pt x="311828" y="256948"/>
                    <a:pt x="265256" y="202293"/>
                    <a:pt x="200199" y="202293"/>
                  </a:cubicBezTo>
                  <a:cubicBezTo>
                    <a:pt x="132184" y="202277"/>
                    <a:pt x="92261" y="260625"/>
                    <a:pt x="92261" y="334487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1035B2B5-B63F-4069-AFBB-942A103B3AA6}"/>
                </a:ext>
              </a:extLst>
            </p:cNvPr>
            <p:cNvSpPr/>
            <p:nvPr/>
          </p:nvSpPr>
          <p:spPr>
            <a:xfrm>
              <a:off x="6431723" y="3290341"/>
              <a:ext cx="199608" cy="397350"/>
            </a:xfrm>
            <a:custGeom>
              <a:avLst/>
              <a:gdLst>
                <a:gd name="connsiteX0" fmla="*/ 84867 w 199608"/>
                <a:gd name="connsiteY0" fmla="*/ 8765 h 397350"/>
                <a:gd name="connsiteX1" fmla="*/ 84867 w 199608"/>
                <a:gd name="connsiteY1" fmla="*/ 35353 h 397350"/>
                <a:gd name="connsiteX2" fmla="*/ 84133 w 199608"/>
                <a:gd name="connsiteY2" fmla="*/ 61203 h 397350"/>
                <a:gd name="connsiteX3" fmla="*/ 178022 w 199608"/>
                <a:gd name="connsiteY3" fmla="*/ -100 h 397350"/>
                <a:gd name="connsiteX4" fmla="*/ 199459 w 199608"/>
                <a:gd name="connsiteY4" fmla="*/ 1377 h 397350"/>
                <a:gd name="connsiteX5" fmla="*/ 199459 w 199608"/>
                <a:gd name="connsiteY5" fmla="*/ 87059 h 397350"/>
                <a:gd name="connsiteX6" fmla="*/ 173585 w 199608"/>
                <a:gd name="connsiteY6" fmla="*/ 84104 h 397350"/>
                <a:gd name="connsiteX7" fmla="*/ 90782 w 199608"/>
                <a:gd name="connsiteY7" fmla="*/ 214076 h 397350"/>
                <a:gd name="connsiteX8" fmla="*/ 90782 w 199608"/>
                <a:gd name="connsiteY8" fmla="*/ 397248 h 397350"/>
                <a:gd name="connsiteX9" fmla="*/ 590 w 199608"/>
                <a:gd name="connsiteY9" fmla="*/ 397248 h 397350"/>
                <a:gd name="connsiteX10" fmla="*/ 590 w 199608"/>
                <a:gd name="connsiteY10" fmla="*/ 78933 h 397350"/>
                <a:gd name="connsiteX11" fmla="*/ -149 w 199608"/>
                <a:gd name="connsiteY11" fmla="*/ 8765 h 397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9608" h="397350">
                  <a:moveTo>
                    <a:pt x="84867" y="8765"/>
                  </a:moveTo>
                  <a:lnTo>
                    <a:pt x="84867" y="35353"/>
                  </a:lnTo>
                  <a:cubicBezTo>
                    <a:pt x="84867" y="44240"/>
                    <a:pt x="84867" y="53077"/>
                    <a:pt x="84133" y="61203"/>
                  </a:cubicBezTo>
                  <a:cubicBezTo>
                    <a:pt x="97437" y="22062"/>
                    <a:pt x="133663" y="-100"/>
                    <a:pt x="178022" y="-100"/>
                  </a:cubicBezTo>
                  <a:cubicBezTo>
                    <a:pt x="185194" y="-139"/>
                    <a:pt x="192360" y="355"/>
                    <a:pt x="199459" y="1377"/>
                  </a:cubicBezTo>
                  <a:lnTo>
                    <a:pt x="199459" y="87059"/>
                  </a:lnTo>
                  <a:cubicBezTo>
                    <a:pt x="191020" y="84854"/>
                    <a:pt x="182308" y="83860"/>
                    <a:pt x="173585" y="84104"/>
                  </a:cubicBezTo>
                  <a:cubicBezTo>
                    <a:pt x="103352" y="84104"/>
                    <a:pt x="90782" y="134327"/>
                    <a:pt x="90782" y="214076"/>
                  </a:cubicBezTo>
                  <a:lnTo>
                    <a:pt x="90782" y="397248"/>
                  </a:lnTo>
                  <a:lnTo>
                    <a:pt x="590" y="397248"/>
                  </a:lnTo>
                  <a:lnTo>
                    <a:pt x="590" y="78933"/>
                  </a:lnTo>
                  <a:cubicBezTo>
                    <a:pt x="590" y="54560"/>
                    <a:pt x="590" y="32398"/>
                    <a:pt x="-149" y="8765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7FB0321E-5E10-4EB3-8FC3-E56722A0DEE0}"/>
                </a:ext>
              </a:extLst>
            </p:cNvPr>
            <p:cNvSpPr/>
            <p:nvPr/>
          </p:nvSpPr>
          <p:spPr>
            <a:xfrm>
              <a:off x="6637981" y="3286650"/>
              <a:ext cx="405871" cy="412883"/>
            </a:xfrm>
            <a:custGeom>
              <a:avLst/>
              <a:gdLst>
                <a:gd name="connsiteX0" fmla="*/ 405722 w 405871"/>
                <a:gd name="connsiteY0" fmla="*/ 207448 h 412883"/>
                <a:gd name="connsiteX1" fmla="*/ 200938 w 405871"/>
                <a:gd name="connsiteY1" fmla="*/ 412782 h 412883"/>
                <a:gd name="connsiteX2" fmla="*/ -149 w 405871"/>
                <a:gd name="connsiteY2" fmla="*/ 207448 h 412883"/>
                <a:gd name="connsiteX3" fmla="*/ 202417 w 405871"/>
                <a:gd name="connsiteY3" fmla="*/ -102 h 412883"/>
                <a:gd name="connsiteX4" fmla="*/ 405722 w 405871"/>
                <a:gd name="connsiteY4" fmla="*/ 207448 h 412883"/>
                <a:gd name="connsiteX5" fmla="*/ 92261 w 405871"/>
                <a:gd name="connsiteY5" fmla="*/ 206709 h 412883"/>
                <a:gd name="connsiteX6" fmla="*/ 200938 w 405871"/>
                <a:gd name="connsiteY6" fmla="*/ 337448 h 412883"/>
                <a:gd name="connsiteX7" fmla="*/ 310349 w 405871"/>
                <a:gd name="connsiteY7" fmla="*/ 206709 h 412883"/>
                <a:gd name="connsiteX8" fmla="*/ 200938 w 405871"/>
                <a:gd name="connsiteY8" fmla="*/ 75237 h 412883"/>
                <a:gd name="connsiteX9" fmla="*/ 92261 w 405871"/>
                <a:gd name="connsiteY9" fmla="*/ 206709 h 41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5871" h="412883">
                  <a:moveTo>
                    <a:pt x="405722" y="207448"/>
                  </a:moveTo>
                  <a:cubicBezTo>
                    <a:pt x="405722" y="327105"/>
                    <a:pt x="326616" y="412782"/>
                    <a:pt x="200938" y="412782"/>
                  </a:cubicBezTo>
                  <a:cubicBezTo>
                    <a:pt x="75994" y="412782"/>
                    <a:pt x="-149" y="326367"/>
                    <a:pt x="-149" y="207448"/>
                  </a:cubicBezTo>
                  <a:cubicBezTo>
                    <a:pt x="-149" y="85579"/>
                    <a:pt x="80430" y="-102"/>
                    <a:pt x="202417" y="-102"/>
                  </a:cubicBezTo>
                  <a:cubicBezTo>
                    <a:pt x="325138" y="-102"/>
                    <a:pt x="405722" y="85579"/>
                    <a:pt x="405722" y="207448"/>
                  </a:cubicBezTo>
                  <a:close/>
                  <a:moveTo>
                    <a:pt x="92261" y="206709"/>
                  </a:moveTo>
                  <a:cubicBezTo>
                    <a:pt x="92261" y="285742"/>
                    <a:pt x="132923" y="337448"/>
                    <a:pt x="200938" y="337448"/>
                  </a:cubicBezTo>
                  <a:cubicBezTo>
                    <a:pt x="269693" y="337448"/>
                    <a:pt x="310349" y="285742"/>
                    <a:pt x="310349" y="206709"/>
                  </a:cubicBezTo>
                  <a:cubicBezTo>
                    <a:pt x="310349" y="129892"/>
                    <a:pt x="268953" y="75237"/>
                    <a:pt x="200938" y="75237"/>
                  </a:cubicBezTo>
                  <a:cubicBezTo>
                    <a:pt x="133657" y="75237"/>
                    <a:pt x="92261" y="129892"/>
                    <a:pt x="92261" y="206709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F8013A61-5799-436A-B724-857FC637ED5A}"/>
                </a:ext>
              </a:extLst>
            </p:cNvPr>
            <p:cNvSpPr/>
            <p:nvPr/>
          </p:nvSpPr>
          <p:spPr>
            <a:xfrm>
              <a:off x="5602346" y="1931306"/>
              <a:ext cx="991920" cy="991010"/>
            </a:xfrm>
            <a:custGeom>
              <a:avLst/>
              <a:gdLst>
                <a:gd name="connsiteX0" fmla="*/ 495803 w 991920"/>
                <a:gd name="connsiteY0" fmla="*/ -102 h 991010"/>
                <a:gd name="connsiteX1" fmla="*/ 25219 w 991920"/>
                <a:gd name="connsiteY1" fmla="*/ -102 h 991010"/>
                <a:gd name="connsiteX2" fmla="*/ 223 w 991920"/>
                <a:gd name="connsiteY2" fmla="*/ 25620 h 991010"/>
                <a:gd name="connsiteX3" fmla="*/ 25219 w 991920"/>
                <a:gd name="connsiteY3" fmla="*/ 50592 h 991010"/>
                <a:gd name="connsiteX4" fmla="*/ 468867 w 991920"/>
                <a:gd name="connsiteY4" fmla="*/ 496975 h 991010"/>
                <a:gd name="connsiteX5" fmla="*/ 25219 w 991920"/>
                <a:gd name="connsiteY5" fmla="*/ 940219 h 991010"/>
                <a:gd name="connsiteX6" fmla="*/ -149 w 991920"/>
                <a:gd name="connsiteY6" fmla="*/ 965563 h 991010"/>
                <a:gd name="connsiteX7" fmla="*/ 25219 w 991920"/>
                <a:gd name="connsiteY7" fmla="*/ 990908 h 991010"/>
                <a:gd name="connsiteX8" fmla="*/ 495809 w 991920"/>
                <a:gd name="connsiteY8" fmla="*/ 990908 h 991010"/>
                <a:gd name="connsiteX9" fmla="*/ 991772 w 991920"/>
                <a:gd name="connsiteY9" fmla="*/ 495403 h 991010"/>
                <a:gd name="connsiteX10" fmla="*/ 495809 w 991920"/>
                <a:gd name="connsiteY10" fmla="*/ -102 h 991010"/>
                <a:gd name="connsiteX11" fmla="*/ 412333 w 991920"/>
                <a:gd name="connsiteY11" fmla="*/ 934064 h 991010"/>
                <a:gd name="connsiteX12" fmla="*/ 621470 w 991920"/>
                <a:gd name="connsiteY12" fmla="*/ 265685 h 991010"/>
                <a:gd name="connsiteX13" fmla="*/ 412333 w 991920"/>
                <a:gd name="connsiteY13" fmla="*/ 56741 h 991010"/>
                <a:gd name="connsiteX14" fmla="*/ 778098 w 991920"/>
                <a:gd name="connsiteY14" fmla="*/ 568637 h 991010"/>
                <a:gd name="connsiteX15" fmla="*/ 412333 w 991920"/>
                <a:gd name="connsiteY15" fmla="*/ 934064 h 991010"/>
                <a:gd name="connsiteX16" fmla="*/ 521177 w 991920"/>
                <a:gd name="connsiteY16" fmla="*/ 495403 h 991010"/>
                <a:gd name="connsiteX17" fmla="*/ 255688 w 991920"/>
                <a:gd name="connsiteY17" fmla="*/ 56780 h 991010"/>
                <a:gd name="connsiteX18" fmla="*/ 621181 w 991920"/>
                <a:gd name="connsiteY18" fmla="*/ 568870 h 991010"/>
                <a:gd name="connsiteX19" fmla="*/ 255688 w 991920"/>
                <a:gd name="connsiteY19" fmla="*/ 934026 h 991010"/>
                <a:gd name="connsiteX20" fmla="*/ 521177 w 991920"/>
                <a:gd name="connsiteY20" fmla="*/ 495403 h 991010"/>
                <a:gd name="connsiteX21" fmla="*/ 569194 w 991920"/>
                <a:gd name="connsiteY21" fmla="*/ 934064 h 991010"/>
                <a:gd name="connsiteX22" fmla="*/ 778343 w 991920"/>
                <a:gd name="connsiteY22" fmla="*/ 265696 h 991010"/>
                <a:gd name="connsiteX23" fmla="*/ 569194 w 991920"/>
                <a:gd name="connsiteY23" fmla="*/ 56741 h 991010"/>
                <a:gd name="connsiteX24" fmla="*/ 934959 w 991920"/>
                <a:gd name="connsiteY24" fmla="*/ 568637 h 991010"/>
                <a:gd name="connsiteX25" fmla="*/ 569194 w 991920"/>
                <a:gd name="connsiteY25" fmla="*/ 934064 h 9910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91920" h="991010">
                  <a:moveTo>
                    <a:pt x="495803" y="-102"/>
                  </a:moveTo>
                  <a:lnTo>
                    <a:pt x="25219" y="-102"/>
                  </a:lnTo>
                  <a:cubicBezTo>
                    <a:pt x="11209" y="103"/>
                    <a:pt x="18" y="11623"/>
                    <a:pt x="223" y="25620"/>
                  </a:cubicBezTo>
                  <a:cubicBezTo>
                    <a:pt x="429" y="39328"/>
                    <a:pt x="11498" y="50387"/>
                    <a:pt x="25219" y="50592"/>
                  </a:cubicBezTo>
                  <a:cubicBezTo>
                    <a:pt x="271110" y="51459"/>
                    <a:pt x="469740" y="251316"/>
                    <a:pt x="468867" y="496975"/>
                  </a:cubicBezTo>
                  <a:cubicBezTo>
                    <a:pt x="468006" y="741417"/>
                    <a:pt x="269882" y="939352"/>
                    <a:pt x="25219" y="940219"/>
                  </a:cubicBezTo>
                  <a:cubicBezTo>
                    <a:pt x="11209" y="940219"/>
                    <a:pt x="-149" y="951566"/>
                    <a:pt x="-149" y="965563"/>
                  </a:cubicBezTo>
                  <a:cubicBezTo>
                    <a:pt x="-149" y="979560"/>
                    <a:pt x="11209" y="990908"/>
                    <a:pt x="25219" y="990908"/>
                  </a:cubicBezTo>
                  <a:lnTo>
                    <a:pt x="495809" y="990908"/>
                  </a:lnTo>
                  <a:cubicBezTo>
                    <a:pt x="769720" y="990908"/>
                    <a:pt x="991772" y="769061"/>
                    <a:pt x="991772" y="495403"/>
                  </a:cubicBezTo>
                  <a:cubicBezTo>
                    <a:pt x="991772" y="221745"/>
                    <a:pt x="769720" y="-102"/>
                    <a:pt x="495809" y="-102"/>
                  </a:cubicBezTo>
                  <a:close/>
                  <a:moveTo>
                    <a:pt x="412333" y="934064"/>
                  </a:moveTo>
                  <a:cubicBezTo>
                    <a:pt x="654822" y="807192"/>
                    <a:pt x="748455" y="507950"/>
                    <a:pt x="621470" y="265685"/>
                  </a:cubicBezTo>
                  <a:cubicBezTo>
                    <a:pt x="574665" y="176393"/>
                    <a:pt x="501707" y="103498"/>
                    <a:pt x="412333" y="56741"/>
                  </a:cubicBezTo>
                  <a:cubicBezTo>
                    <a:pt x="654822" y="97188"/>
                    <a:pt x="818582" y="326367"/>
                    <a:pt x="778098" y="568637"/>
                  </a:cubicBezTo>
                  <a:cubicBezTo>
                    <a:pt x="746792" y="755980"/>
                    <a:pt x="599855" y="902788"/>
                    <a:pt x="412333" y="934064"/>
                  </a:cubicBezTo>
                  <a:close/>
                  <a:moveTo>
                    <a:pt x="521177" y="495403"/>
                  </a:moveTo>
                  <a:cubicBezTo>
                    <a:pt x="521032" y="311298"/>
                    <a:pt x="418815" y="142417"/>
                    <a:pt x="255688" y="56780"/>
                  </a:cubicBezTo>
                  <a:cubicBezTo>
                    <a:pt x="498155" y="97355"/>
                    <a:pt x="661793" y="326622"/>
                    <a:pt x="621181" y="568870"/>
                  </a:cubicBezTo>
                  <a:cubicBezTo>
                    <a:pt x="589809" y="756025"/>
                    <a:pt x="443021" y="902677"/>
                    <a:pt x="255688" y="934026"/>
                  </a:cubicBezTo>
                  <a:cubicBezTo>
                    <a:pt x="418815" y="848388"/>
                    <a:pt x="521032" y="679508"/>
                    <a:pt x="521177" y="495403"/>
                  </a:cubicBezTo>
                  <a:close/>
                  <a:moveTo>
                    <a:pt x="569194" y="934064"/>
                  </a:moveTo>
                  <a:cubicBezTo>
                    <a:pt x="811683" y="807203"/>
                    <a:pt x="905322" y="507961"/>
                    <a:pt x="778343" y="265696"/>
                  </a:cubicBezTo>
                  <a:cubicBezTo>
                    <a:pt x="731537" y="176399"/>
                    <a:pt x="658574" y="103503"/>
                    <a:pt x="569194" y="56741"/>
                  </a:cubicBezTo>
                  <a:cubicBezTo>
                    <a:pt x="811683" y="97188"/>
                    <a:pt x="975444" y="326367"/>
                    <a:pt x="934959" y="568637"/>
                  </a:cubicBezTo>
                  <a:cubicBezTo>
                    <a:pt x="903654" y="755980"/>
                    <a:pt x="756716" y="902788"/>
                    <a:pt x="569194" y="934064"/>
                  </a:cubicBez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9292D0BC-D14C-42CB-BFD3-2DDE89DAFE33}"/>
                </a:ext>
              </a:extLst>
            </p:cNvPr>
            <p:cNvSpPr/>
            <p:nvPr/>
          </p:nvSpPr>
          <p:spPr>
            <a:xfrm>
              <a:off x="4586769" y="4317668"/>
              <a:ext cx="388903" cy="388544"/>
            </a:xfrm>
            <a:custGeom>
              <a:avLst/>
              <a:gdLst>
                <a:gd name="connsiteX0" fmla="*/ 388755 w 388903"/>
                <a:gd name="connsiteY0" fmla="*/ 388442 h 388544"/>
                <a:gd name="connsiteX1" fmla="*/ 318616 w 388903"/>
                <a:gd name="connsiteY1" fmla="*/ 388442 h 388544"/>
                <a:gd name="connsiteX2" fmla="*/ 275858 w 388903"/>
                <a:gd name="connsiteY2" fmla="*/ 277038 h 388544"/>
                <a:gd name="connsiteX3" fmla="*/ 106243 w 388903"/>
                <a:gd name="connsiteY3" fmla="*/ 277038 h 388544"/>
                <a:gd name="connsiteX4" fmla="*/ 66565 w 388903"/>
                <a:gd name="connsiteY4" fmla="*/ 388442 h 388544"/>
                <a:gd name="connsiteX5" fmla="*/ -149 w 388903"/>
                <a:gd name="connsiteY5" fmla="*/ 388442 h 388544"/>
                <a:gd name="connsiteX6" fmla="*/ 154110 w 388903"/>
                <a:gd name="connsiteY6" fmla="*/ -102 h 388544"/>
                <a:gd name="connsiteX7" fmla="*/ 224572 w 388903"/>
                <a:gd name="connsiteY7" fmla="*/ -102 h 388544"/>
                <a:gd name="connsiteX8" fmla="*/ 251257 w 388903"/>
                <a:gd name="connsiteY8" fmla="*/ 222689 h 388544"/>
                <a:gd name="connsiteX9" fmla="*/ 212947 w 388903"/>
                <a:gd name="connsiteY9" fmla="*/ 120489 h 388544"/>
                <a:gd name="connsiteX10" fmla="*/ 204735 w 388903"/>
                <a:gd name="connsiteY10" fmla="*/ 98793 h 388544"/>
                <a:gd name="connsiteX11" fmla="*/ 198581 w 388903"/>
                <a:gd name="connsiteY11" fmla="*/ 82391 h 388544"/>
                <a:gd name="connsiteX12" fmla="*/ 193794 w 388903"/>
                <a:gd name="connsiteY12" fmla="*/ 67866 h 388544"/>
                <a:gd name="connsiteX13" fmla="*/ 189686 w 388903"/>
                <a:gd name="connsiteY13" fmla="*/ 51803 h 388544"/>
                <a:gd name="connsiteX14" fmla="*/ 188318 w 388903"/>
                <a:gd name="connsiteY14" fmla="*/ 51803 h 388544"/>
                <a:gd name="connsiteX15" fmla="*/ 184727 w 388903"/>
                <a:gd name="connsiteY15" fmla="*/ 68722 h 388544"/>
                <a:gd name="connsiteX16" fmla="*/ 180624 w 388903"/>
                <a:gd name="connsiteY16" fmla="*/ 83757 h 388544"/>
                <a:gd name="connsiteX17" fmla="*/ 175153 w 388903"/>
                <a:gd name="connsiteY17" fmla="*/ 100504 h 388544"/>
                <a:gd name="connsiteX18" fmla="*/ 167114 w 388903"/>
                <a:gd name="connsiteY18" fmla="*/ 122538 h 388544"/>
                <a:gd name="connsiteX19" fmla="*/ 129487 w 388903"/>
                <a:gd name="connsiteY19" fmla="*/ 222689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88903" h="388544">
                  <a:moveTo>
                    <a:pt x="388755" y="388442"/>
                  </a:moveTo>
                  <a:lnTo>
                    <a:pt x="318616" y="388442"/>
                  </a:lnTo>
                  <a:lnTo>
                    <a:pt x="275858" y="277038"/>
                  </a:lnTo>
                  <a:lnTo>
                    <a:pt x="106243" y="277038"/>
                  </a:lnTo>
                  <a:lnTo>
                    <a:pt x="66565" y="388442"/>
                  </a:lnTo>
                  <a:lnTo>
                    <a:pt x="-149" y="388442"/>
                  </a:lnTo>
                  <a:lnTo>
                    <a:pt x="154110" y="-102"/>
                  </a:lnTo>
                  <a:lnTo>
                    <a:pt x="224572" y="-102"/>
                  </a:lnTo>
                  <a:close/>
                  <a:moveTo>
                    <a:pt x="251257" y="222689"/>
                  </a:moveTo>
                  <a:lnTo>
                    <a:pt x="212947" y="120489"/>
                  </a:lnTo>
                  <a:cubicBezTo>
                    <a:pt x="209750" y="112068"/>
                    <a:pt x="207015" y="104836"/>
                    <a:pt x="204735" y="98793"/>
                  </a:cubicBezTo>
                  <a:cubicBezTo>
                    <a:pt x="202456" y="92750"/>
                    <a:pt x="200404" y="87284"/>
                    <a:pt x="198581" y="82391"/>
                  </a:cubicBezTo>
                  <a:cubicBezTo>
                    <a:pt x="196752" y="77492"/>
                    <a:pt x="195156" y="72649"/>
                    <a:pt x="193794" y="67866"/>
                  </a:cubicBezTo>
                  <a:cubicBezTo>
                    <a:pt x="192432" y="63084"/>
                    <a:pt x="191064" y="57730"/>
                    <a:pt x="189686" y="51803"/>
                  </a:cubicBezTo>
                  <a:lnTo>
                    <a:pt x="188318" y="51803"/>
                  </a:lnTo>
                  <a:cubicBezTo>
                    <a:pt x="187178" y="58185"/>
                    <a:pt x="185983" y="63823"/>
                    <a:pt x="184727" y="68722"/>
                  </a:cubicBezTo>
                  <a:cubicBezTo>
                    <a:pt x="183470" y="73621"/>
                    <a:pt x="182103" y="78631"/>
                    <a:pt x="180624" y="83757"/>
                  </a:cubicBezTo>
                  <a:cubicBezTo>
                    <a:pt x="179139" y="88884"/>
                    <a:pt x="177316" y="94466"/>
                    <a:pt x="175153" y="100504"/>
                  </a:cubicBezTo>
                  <a:cubicBezTo>
                    <a:pt x="172990" y="106542"/>
                    <a:pt x="170311" y="113884"/>
                    <a:pt x="167114" y="122538"/>
                  </a:cubicBezTo>
                  <a:lnTo>
                    <a:pt x="129487" y="222689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189E2B14-22E1-42B3-AFC4-9C3A9414FA28}"/>
                </a:ext>
              </a:extLst>
            </p:cNvPr>
            <p:cNvSpPr/>
            <p:nvPr/>
          </p:nvSpPr>
          <p:spPr>
            <a:xfrm>
              <a:off x="5010987" y="4317668"/>
              <a:ext cx="257582" cy="388544"/>
            </a:xfrm>
            <a:custGeom>
              <a:avLst/>
              <a:gdLst>
                <a:gd name="connsiteX0" fmla="*/ 257434 w 257582"/>
                <a:gd name="connsiteY0" fmla="*/ 388442 h 388544"/>
                <a:gd name="connsiteX1" fmla="*/ -149 w 257582"/>
                <a:gd name="connsiteY1" fmla="*/ 388442 h 388544"/>
                <a:gd name="connsiteX2" fmla="*/ -149 w 257582"/>
                <a:gd name="connsiteY2" fmla="*/ -102 h 388544"/>
                <a:gd name="connsiteX3" fmla="*/ 63468 w 257582"/>
                <a:gd name="connsiteY3" fmla="*/ -102 h 388544"/>
                <a:gd name="connsiteX4" fmla="*/ 63468 w 257582"/>
                <a:gd name="connsiteY4" fmla="*/ 333776 h 388544"/>
                <a:gd name="connsiteX5" fmla="*/ 257434 w 257582"/>
                <a:gd name="connsiteY5" fmla="*/ 333776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7582" h="388544">
                  <a:moveTo>
                    <a:pt x="257434" y="388442"/>
                  </a:moveTo>
                  <a:lnTo>
                    <a:pt x="-149" y="388442"/>
                  </a:lnTo>
                  <a:lnTo>
                    <a:pt x="-149" y="-102"/>
                  </a:lnTo>
                  <a:lnTo>
                    <a:pt x="63468" y="-102"/>
                  </a:lnTo>
                  <a:lnTo>
                    <a:pt x="63468" y="333776"/>
                  </a:lnTo>
                  <a:lnTo>
                    <a:pt x="257434" y="333776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0242B18A-1BC8-4CA3-BD8A-61FE1ED326E1}"/>
                </a:ext>
              </a:extLst>
            </p:cNvPr>
            <p:cNvSpPr/>
            <p:nvPr/>
          </p:nvSpPr>
          <p:spPr>
            <a:xfrm>
              <a:off x="5291108" y="4317668"/>
              <a:ext cx="327326" cy="394763"/>
            </a:xfrm>
            <a:custGeom>
              <a:avLst/>
              <a:gdLst>
                <a:gd name="connsiteX0" fmla="*/ 327178 w 327326"/>
                <a:gd name="connsiteY0" fmla="*/ 224755 h 394763"/>
                <a:gd name="connsiteX1" fmla="*/ 325638 w 327326"/>
                <a:gd name="connsiteY1" fmla="*/ 262525 h 394763"/>
                <a:gd name="connsiteX2" fmla="*/ 318455 w 327326"/>
                <a:gd name="connsiteY2" fmla="*/ 301139 h 394763"/>
                <a:gd name="connsiteX3" fmla="*/ 302210 w 327326"/>
                <a:gd name="connsiteY3" fmla="*/ 337020 h 394763"/>
                <a:gd name="connsiteX4" fmla="*/ 273478 w 327326"/>
                <a:gd name="connsiteY4" fmla="*/ 366747 h 394763"/>
                <a:gd name="connsiteX5" fmla="*/ 228674 w 327326"/>
                <a:gd name="connsiteY5" fmla="*/ 387076 h 394763"/>
                <a:gd name="connsiteX6" fmla="*/ 164029 w 327326"/>
                <a:gd name="connsiteY6" fmla="*/ 394596 h 394763"/>
                <a:gd name="connsiteX7" fmla="*/ 93567 w 327326"/>
                <a:gd name="connsiteY7" fmla="*/ 386054 h 394763"/>
                <a:gd name="connsiteX8" fmla="*/ 46868 w 327326"/>
                <a:gd name="connsiteY8" fmla="*/ 363498 h 394763"/>
                <a:gd name="connsiteX9" fmla="*/ 19009 w 327326"/>
                <a:gd name="connsiteY9" fmla="*/ 331554 h 394763"/>
                <a:gd name="connsiteX10" fmla="*/ 5155 w 327326"/>
                <a:gd name="connsiteY10" fmla="*/ 294651 h 394763"/>
                <a:gd name="connsiteX11" fmla="*/ 368 w 327326"/>
                <a:gd name="connsiteY11" fmla="*/ 257570 h 394763"/>
                <a:gd name="connsiteX12" fmla="*/ -149 w 327326"/>
                <a:gd name="connsiteY12" fmla="*/ 224766 h 394763"/>
                <a:gd name="connsiteX13" fmla="*/ -149 w 327326"/>
                <a:gd name="connsiteY13" fmla="*/ -102 h 394763"/>
                <a:gd name="connsiteX14" fmla="*/ 63129 w 327326"/>
                <a:gd name="connsiteY14" fmla="*/ -102 h 394763"/>
                <a:gd name="connsiteX15" fmla="*/ 63129 w 327326"/>
                <a:gd name="connsiteY15" fmla="*/ 224072 h 394763"/>
                <a:gd name="connsiteX16" fmla="*/ 63985 w 327326"/>
                <a:gd name="connsiteY16" fmla="*/ 253116 h 394763"/>
                <a:gd name="connsiteX17" fmla="*/ 68088 w 327326"/>
                <a:gd name="connsiteY17" fmla="*/ 280287 h 394763"/>
                <a:gd name="connsiteX18" fmla="*/ 77667 w 327326"/>
                <a:gd name="connsiteY18" fmla="*/ 304205 h 394763"/>
                <a:gd name="connsiteX19" fmla="*/ 94768 w 327326"/>
                <a:gd name="connsiteY19" fmla="*/ 323345 h 394763"/>
                <a:gd name="connsiteX20" fmla="*/ 121276 w 327326"/>
                <a:gd name="connsiteY20" fmla="*/ 335814 h 394763"/>
                <a:gd name="connsiteX21" fmla="*/ 159587 w 327326"/>
                <a:gd name="connsiteY21" fmla="*/ 340258 h 394763"/>
                <a:gd name="connsiteX22" fmla="*/ 215510 w 327326"/>
                <a:gd name="connsiteY22" fmla="*/ 331888 h 394763"/>
                <a:gd name="connsiteX23" fmla="*/ 246804 w 327326"/>
                <a:gd name="connsiteY23" fmla="*/ 308137 h 394763"/>
                <a:gd name="connsiteX24" fmla="*/ 260314 w 327326"/>
                <a:gd name="connsiteY24" fmla="*/ 271401 h 394763"/>
                <a:gd name="connsiteX25" fmla="*/ 263221 w 327326"/>
                <a:gd name="connsiteY25" fmla="*/ 224072 h 394763"/>
                <a:gd name="connsiteX26" fmla="*/ 263221 w 327326"/>
                <a:gd name="connsiteY26" fmla="*/ -102 h 394763"/>
                <a:gd name="connsiteX27" fmla="*/ 327156 w 327326"/>
                <a:gd name="connsiteY27" fmla="*/ -102 h 39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27326" h="394763">
                  <a:moveTo>
                    <a:pt x="327178" y="224755"/>
                  </a:moveTo>
                  <a:cubicBezTo>
                    <a:pt x="327178" y="236836"/>
                    <a:pt x="326666" y="249428"/>
                    <a:pt x="325638" y="262525"/>
                  </a:cubicBezTo>
                  <a:cubicBezTo>
                    <a:pt x="324615" y="275611"/>
                    <a:pt x="322208" y="288558"/>
                    <a:pt x="318455" y="301139"/>
                  </a:cubicBezTo>
                  <a:cubicBezTo>
                    <a:pt x="314697" y="313780"/>
                    <a:pt x="309232" y="325850"/>
                    <a:pt x="302210" y="337020"/>
                  </a:cubicBezTo>
                  <a:cubicBezTo>
                    <a:pt x="294710" y="348740"/>
                    <a:pt x="284942" y="358849"/>
                    <a:pt x="273478" y="366747"/>
                  </a:cubicBezTo>
                  <a:cubicBezTo>
                    <a:pt x="259808" y="376023"/>
                    <a:pt x="244658" y="382893"/>
                    <a:pt x="228674" y="387076"/>
                  </a:cubicBezTo>
                  <a:cubicBezTo>
                    <a:pt x="207565" y="392497"/>
                    <a:pt x="185816" y="395024"/>
                    <a:pt x="164029" y="394596"/>
                  </a:cubicBezTo>
                  <a:cubicBezTo>
                    <a:pt x="140251" y="395141"/>
                    <a:pt x="116523" y="392264"/>
                    <a:pt x="93567" y="386054"/>
                  </a:cubicBezTo>
                  <a:cubicBezTo>
                    <a:pt x="76767" y="381411"/>
                    <a:pt x="60944" y="373768"/>
                    <a:pt x="46868" y="363498"/>
                  </a:cubicBezTo>
                  <a:cubicBezTo>
                    <a:pt x="35382" y="354983"/>
                    <a:pt x="25881" y="344085"/>
                    <a:pt x="19009" y="331554"/>
                  </a:cubicBezTo>
                  <a:cubicBezTo>
                    <a:pt x="12749" y="319935"/>
                    <a:pt x="8084" y="307521"/>
                    <a:pt x="5155" y="294651"/>
                  </a:cubicBezTo>
                  <a:cubicBezTo>
                    <a:pt x="2364" y="282476"/>
                    <a:pt x="757" y="270056"/>
                    <a:pt x="368" y="257570"/>
                  </a:cubicBezTo>
                  <a:cubicBezTo>
                    <a:pt x="23" y="245500"/>
                    <a:pt x="-149" y="234564"/>
                    <a:pt x="-149" y="224766"/>
                  </a:cubicBezTo>
                  <a:lnTo>
                    <a:pt x="-149" y="-102"/>
                  </a:lnTo>
                  <a:lnTo>
                    <a:pt x="63129" y="-102"/>
                  </a:lnTo>
                  <a:lnTo>
                    <a:pt x="63129" y="224072"/>
                  </a:lnTo>
                  <a:cubicBezTo>
                    <a:pt x="63129" y="233870"/>
                    <a:pt x="63413" y="243551"/>
                    <a:pt x="63985" y="253116"/>
                  </a:cubicBezTo>
                  <a:cubicBezTo>
                    <a:pt x="64491" y="262280"/>
                    <a:pt x="65864" y="271379"/>
                    <a:pt x="68088" y="280287"/>
                  </a:cubicBezTo>
                  <a:cubicBezTo>
                    <a:pt x="70184" y="288658"/>
                    <a:pt x="73403" y="296701"/>
                    <a:pt x="77667" y="304205"/>
                  </a:cubicBezTo>
                  <a:cubicBezTo>
                    <a:pt x="81970" y="311709"/>
                    <a:pt x="87791" y="318230"/>
                    <a:pt x="94768" y="323345"/>
                  </a:cubicBezTo>
                  <a:cubicBezTo>
                    <a:pt x="102763" y="329088"/>
                    <a:pt x="111753" y="333315"/>
                    <a:pt x="121276" y="335814"/>
                  </a:cubicBezTo>
                  <a:cubicBezTo>
                    <a:pt x="133785" y="339025"/>
                    <a:pt x="146672" y="340519"/>
                    <a:pt x="159587" y="340258"/>
                  </a:cubicBezTo>
                  <a:cubicBezTo>
                    <a:pt x="178589" y="340980"/>
                    <a:pt x="197552" y="338136"/>
                    <a:pt x="215510" y="331888"/>
                  </a:cubicBezTo>
                  <a:cubicBezTo>
                    <a:pt x="228068" y="327250"/>
                    <a:pt x="238965" y="318985"/>
                    <a:pt x="246804" y="308137"/>
                  </a:cubicBezTo>
                  <a:cubicBezTo>
                    <a:pt x="254154" y="297134"/>
                    <a:pt x="258779" y="284542"/>
                    <a:pt x="260314" y="271401"/>
                  </a:cubicBezTo>
                  <a:cubicBezTo>
                    <a:pt x="262343" y="255709"/>
                    <a:pt x="263316" y="239896"/>
                    <a:pt x="263221" y="224072"/>
                  </a:cubicBezTo>
                  <a:lnTo>
                    <a:pt x="263221" y="-102"/>
                  </a:lnTo>
                  <a:lnTo>
                    <a:pt x="327156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6B59EA68-9D5A-487A-B7A4-E040023A475A}"/>
                </a:ext>
              </a:extLst>
            </p:cNvPr>
            <p:cNvSpPr/>
            <p:nvPr/>
          </p:nvSpPr>
          <p:spPr>
            <a:xfrm>
              <a:off x="5674908" y="4317668"/>
              <a:ext cx="401852" cy="388544"/>
            </a:xfrm>
            <a:custGeom>
              <a:avLst/>
              <a:gdLst>
                <a:gd name="connsiteX0" fmla="*/ 401703 w 401852"/>
                <a:gd name="connsiteY0" fmla="*/ 388442 h 388544"/>
                <a:gd name="connsiteX1" fmla="*/ 342188 w 401852"/>
                <a:gd name="connsiteY1" fmla="*/ 388442 h 388544"/>
                <a:gd name="connsiteX2" fmla="*/ 342188 w 401852"/>
                <a:gd name="connsiteY2" fmla="*/ 78509 h 388544"/>
                <a:gd name="connsiteX3" fmla="*/ 340154 w 401852"/>
                <a:gd name="connsiteY3" fmla="*/ 78509 h 388544"/>
                <a:gd name="connsiteX4" fmla="*/ 223860 w 401852"/>
                <a:gd name="connsiteY4" fmla="*/ 388442 h 388544"/>
                <a:gd name="connsiteX5" fmla="*/ 176315 w 401852"/>
                <a:gd name="connsiteY5" fmla="*/ 388442 h 388544"/>
                <a:gd name="connsiteX6" fmla="*/ 60705 w 401852"/>
                <a:gd name="connsiteY6" fmla="*/ 72688 h 388544"/>
                <a:gd name="connsiteX7" fmla="*/ 59338 w 401852"/>
                <a:gd name="connsiteY7" fmla="*/ 72688 h 388544"/>
                <a:gd name="connsiteX8" fmla="*/ 59338 w 401852"/>
                <a:gd name="connsiteY8" fmla="*/ 388442 h 388544"/>
                <a:gd name="connsiteX9" fmla="*/ -149 w 401852"/>
                <a:gd name="connsiteY9" fmla="*/ 388442 h 388544"/>
                <a:gd name="connsiteX10" fmla="*/ -149 w 401852"/>
                <a:gd name="connsiteY10" fmla="*/ -102 h 388544"/>
                <a:gd name="connsiteX11" fmla="*/ 89420 w 401852"/>
                <a:gd name="connsiteY11" fmla="*/ -102 h 388544"/>
                <a:gd name="connsiteX12" fmla="*/ 183137 w 401852"/>
                <a:gd name="connsiteY12" fmla="*/ 254843 h 388544"/>
                <a:gd name="connsiteX13" fmla="*/ 194595 w 401852"/>
                <a:gd name="connsiteY13" fmla="*/ 289358 h 388544"/>
                <a:gd name="connsiteX14" fmla="*/ 201950 w 401852"/>
                <a:gd name="connsiteY14" fmla="*/ 317035 h 388544"/>
                <a:gd name="connsiteX15" fmla="*/ 202634 w 401852"/>
                <a:gd name="connsiteY15" fmla="*/ 317035 h 388544"/>
                <a:gd name="connsiteX16" fmla="*/ 211529 w 401852"/>
                <a:gd name="connsiteY16" fmla="*/ 288847 h 388544"/>
                <a:gd name="connsiteX17" fmla="*/ 224527 w 401852"/>
                <a:gd name="connsiteY17" fmla="*/ 250744 h 388544"/>
                <a:gd name="connsiteX18" fmla="*/ 320640 w 401852"/>
                <a:gd name="connsiteY18" fmla="*/ -86 h 388544"/>
                <a:gd name="connsiteX19" fmla="*/ 401703 w 401852"/>
                <a:gd name="connsiteY19" fmla="*/ -86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1852" h="388544">
                  <a:moveTo>
                    <a:pt x="401703" y="388442"/>
                  </a:moveTo>
                  <a:lnTo>
                    <a:pt x="342188" y="388442"/>
                  </a:lnTo>
                  <a:lnTo>
                    <a:pt x="342188" y="78509"/>
                  </a:lnTo>
                  <a:lnTo>
                    <a:pt x="340154" y="78509"/>
                  </a:lnTo>
                  <a:lnTo>
                    <a:pt x="223860" y="388442"/>
                  </a:lnTo>
                  <a:lnTo>
                    <a:pt x="176315" y="388442"/>
                  </a:lnTo>
                  <a:lnTo>
                    <a:pt x="60705" y="72688"/>
                  </a:lnTo>
                  <a:lnTo>
                    <a:pt x="59338" y="72688"/>
                  </a:lnTo>
                  <a:lnTo>
                    <a:pt x="59338" y="388442"/>
                  </a:lnTo>
                  <a:lnTo>
                    <a:pt x="-149" y="388442"/>
                  </a:lnTo>
                  <a:lnTo>
                    <a:pt x="-149" y="-102"/>
                  </a:lnTo>
                  <a:lnTo>
                    <a:pt x="89420" y="-102"/>
                  </a:lnTo>
                  <a:lnTo>
                    <a:pt x="183137" y="254843"/>
                  </a:lnTo>
                  <a:cubicBezTo>
                    <a:pt x="187701" y="266690"/>
                    <a:pt x="191520" y="278199"/>
                    <a:pt x="194595" y="289358"/>
                  </a:cubicBezTo>
                  <a:cubicBezTo>
                    <a:pt x="197669" y="300517"/>
                    <a:pt x="200121" y="309742"/>
                    <a:pt x="201950" y="317035"/>
                  </a:cubicBezTo>
                  <a:lnTo>
                    <a:pt x="202634" y="317035"/>
                  </a:lnTo>
                  <a:cubicBezTo>
                    <a:pt x="205141" y="309998"/>
                    <a:pt x="208104" y="300605"/>
                    <a:pt x="211529" y="288847"/>
                  </a:cubicBezTo>
                  <a:cubicBezTo>
                    <a:pt x="214954" y="277088"/>
                    <a:pt x="219285" y="264391"/>
                    <a:pt x="224527" y="250744"/>
                  </a:cubicBezTo>
                  <a:lnTo>
                    <a:pt x="320640" y="-86"/>
                  </a:lnTo>
                  <a:lnTo>
                    <a:pt x="401703" y="-86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C339DE95-F89B-4651-9702-1E9A89B8BE5C}"/>
                </a:ext>
              </a:extLst>
            </p:cNvPr>
            <p:cNvSpPr/>
            <p:nvPr/>
          </p:nvSpPr>
          <p:spPr>
            <a:xfrm>
              <a:off x="6141823" y="4317668"/>
              <a:ext cx="63622" cy="388544"/>
            </a:xfrm>
            <a:custGeom>
              <a:avLst/>
              <a:gdLst>
                <a:gd name="connsiteX0" fmla="*/ 63474 w 63622"/>
                <a:gd name="connsiteY0" fmla="*/ 388442 h 388544"/>
                <a:gd name="connsiteX1" fmla="*/ -149 w 63622"/>
                <a:gd name="connsiteY1" fmla="*/ 388442 h 388544"/>
                <a:gd name="connsiteX2" fmla="*/ -149 w 63622"/>
                <a:gd name="connsiteY2" fmla="*/ -102 h 388544"/>
                <a:gd name="connsiteX3" fmla="*/ 63474 w 63622"/>
                <a:gd name="connsiteY3" fmla="*/ -102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622" h="388544">
                  <a:moveTo>
                    <a:pt x="63474" y="388442"/>
                  </a:moveTo>
                  <a:lnTo>
                    <a:pt x="-149" y="388442"/>
                  </a:lnTo>
                  <a:lnTo>
                    <a:pt x="-149" y="-102"/>
                  </a:lnTo>
                  <a:lnTo>
                    <a:pt x="63474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48A98899-2A4E-4794-99EC-C667E1AC5A55}"/>
                </a:ext>
              </a:extLst>
            </p:cNvPr>
            <p:cNvSpPr/>
            <p:nvPr/>
          </p:nvSpPr>
          <p:spPr>
            <a:xfrm>
              <a:off x="6276068" y="4317668"/>
              <a:ext cx="326987" cy="388544"/>
            </a:xfrm>
            <a:custGeom>
              <a:avLst/>
              <a:gdLst>
                <a:gd name="connsiteX0" fmla="*/ 326839 w 326987"/>
                <a:gd name="connsiteY0" fmla="*/ 388442 h 388544"/>
                <a:gd name="connsiteX1" fmla="*/ 261854 w 326987"/>
                <a:gd name="connsiteY1" fmla="*/ 388442 h 388544"/>
                <a:gd name="connsiteX2" fmla="*/ 61445 w 326987"/>
                <a:gd name="connsiteY2" fmla="*/ 95238 h 388544"/>
                <a:gd name="connsiteX3" fmla="*/ 60077 w 326987"/>
                <a:gd name="connsiteY3" fmla="*/ 95238 h 388544"/>
                <a:gd name="connsiteX4" fmla="*/ 60077 w 326987"/>
                <a:gd name="connsiteY4" fmla="*/ 388442 h 388544"/>
                <a:gd name="connsiteX5" fmla="*/ -149 w 326987"/>
                <a:gd name="connsiteY5" fmla="*/ 388442 h 388544"/>
                <a:gd name="connsiteX6" fmla="*/ -149 w 326987"/>
                <a:gd name="connsiteY6" fmla="*/ -102 h 388544"/>
                <a:gd name="connsiteX7" fmla="*/ 64152 w 326987"/>
                <a:gd name="connsiteY7" fmla="*/ -102 h 388544"/>
                <a:gd name="connsiteX8" fmla="*/ 264589 w 326987"/>
                <a:gd name="connsiteY8" fmla="*/ 293096 h 388544"/>
                <a:gd name="connsiteX9" fmla="*/ 265957 w 326987"/>
                <a:gd name="connsiteY9" fmla="*/ 293096 h 388544"/>
                <a:gd name="connsiteX10" fmla="*/ 265957 w 326987"/>
                <a:gd name="connsiteY10" fmla="*/ -102 h 388544"/>
                <a:gd name="connsiteX11" fmla="*/ 326839 w 326987"/>
                <a:gd name="connsiteY11" fmla="*/ -102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6987" h="388544">
                  <a:moveTo>
                    <a:pt x="326839" y="388442"/>
                  </a:moveTo>
                  <a:lnTo>
                    <a:pt x="261854" y="388442"/>
                  </a:lnTo>
                  <a:lnTo>
                    <a:pt x="61445" y="95238"/>
                  </a:lnTo>
                  <a:lnTo>
                    <a:pt x="60077" y="95238"/>
                  </a:lnTo>
                  <a:lnTo>
                    <a:pt x="60077" y="388442"/>
                  </a:lnTo>
                  <a:lnTo>
                    <a:pt x="-149" y="388442"/>
                  </a:lnTo>
                  <a:lnTo>
                    <a:pt x="-149" y="-102"/>
                  </a:lnTo>
                  <a:lnTo>
                    <a:pt x="64152" y="-102"/>
                  </a:lnTo>
                  <a:lnTo>
                    <a:pt x="264589" y="293096"/>
                  </a:lnTo>
                  <a:lnTo>
                    <a:pt x="265957" y="293096"/>
                  </a:lnTo>
                  <a:lnTo>
                    <a:pt x="265957" y="-102"/>
                  </a:lnTo>
                  <a:lnTo>
                    <a:pt x="326839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DB260592-16BE-4B1A-B86C-236F9B0ADFB8}"/>
                </a:ext>
              </a:extLst>
            </p:cNvPr>
            <p:cNvSpPr/>
            <p:nvPr/>
          </p:nvSpPr>
          <p:spPr>
            <a:xfrm>
              <a:off x="6668119" y="4317668"/>
              <a:ext cx="63622" cy="388544"/>
            </a:xfrm>
            <a:custGeom>
              <a:avLst/>
              <a:gdLst>
                <a:gd name="connsiteX0" fmla="*/ 63474 w 63622"/>
                <a:gd name="connsiteY0" fmla="*/ 388442 h 388544"/>
                <a:gd name="connsiteX1" fmla="*/ -149 w 63622"/>
                <a:gd name="connsiteY1" fmla="*/ 388442 h 388544"/>
                <a:gd name="connsiteX2" fmla="*/ -149 w 63622"/>
                <a:gd name="connsiteY2" fmla="*/ -102 h 388544"/>
                <a:gd name="connsiteX3" fmla="*/ 63474 w 63622"/>
                <a:gd name="connsiteY3" fmla="*/ -102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3622" h="388544">
                  <a:moveTo>
                    <a:pt x="63474" y="388442"/>
                  </a:moveTo>
                  <a:lnTo>
                    <a:pt x="-149" y="388442"/>
                  </a:lnTo>
                  <a:lnTo>
                    <a:pt x="-149" y="-102"/>
                  </a:lnTo>
                  <a:lnTo>
                    <a:pt x="63474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E4DB5E03-B2AD-4A4B-9967-1C939F2D1A80}"/>
                </a:ext>
              </a:extLst>
            </p:cNvPr>
            <p:cNvSpPr/>
            <p:nvPr/>
          </p:nvSpPr>
          <p:spPr>
            <a:xfrm>
              <a:off x="6799957" y="4317668"/>
              <a:ext cx="327343" cy="394763"/>
            </a:xfrm>
            <a:custGeom>
              <a:avLst/>
              <a:gdLst>
                <a:gd name="connsiteX0" fmla="*/ 327195 w 327343"/>
                <a:gd name="connsiteY0" fmla="*/ 224755 h 394763"/>
                <a:gd name="connsiteX1" fmla="*/ 325655 w 327343"/>
                <a:gd name="connsiteY1" fmla="*/ 262525 h 394763"/>
                <a:gd name="connsiteX2" fmla="*/ 318477 w 327343"/>
                <a:gd name="connsiteY2" fmla="*/ 301139 h 394763"/>
                <a:gd name="connsiteX3" fmla="*/ 302227 w 327343"/>
                <a:gd name="connsiteY3" fmla="*/ 337020 h 394763"/>
                <a:gd name="connsiteX4" fmla="*/ 273495 w 327343"/>
                <a:gd name="connsiteY4" fmla="*/ 366747 h 394763"/>
                <a:gd name="connsiteX5" fmla="*/ 228686 w 327343"/>
                <a:gd name="connsiteY5" fmla="*/ 387076 h 394763"/>
                <a:gd name="connsiteX6" fmla="*/ 164040 w 327343"/>
                <a:gd name="connsiteY6" fmla="*/ 394596 h 394763"/>
                <a:gd name="connsiteX7" fmla="*/ 93584 w 327343"/>
                <a:gd name="connsiteY7" fmla="*/ 386054 h 394763"/>
                <a:gd name="connsiteX8" fmla="*/ 46885 w 327343"/>
                <a:gd name="connsiteY8" fmla="*/ 363498 h 394763"/>
                <a:gd name="connsiteX9" fmla="*/ 19009 w 327343"/>
                <a:gd name="connsiteY9" fmla="*/ 331554 h 394763"/>
                <a:gd name="connsiteX10" fmla="*/ 5155 w 327343"/>
                <a:gd name="connsiteY10" fmla="*/ 294651 h 394763"/>
                <a:gd name="connsiteX11" fmla="*/ 368 w 327343"/>
                <a:gd name="connsiteY11" fmla="*/ 257570 h 394763"/>
                <a:gd name="connsiteX12" fmla="*/ -149 w 327343"/>
                <a:gd name="connsiteY12" fmla="*/ 224766 h 394763"/>
                <a:gd name="connsiteX13" fmla="*/ -149 w 327343"/>
                <a:gd name="connsiteY13" fmla="*/ -102 h 394763"/>
                <a:gd name="connsiteX14" fmla="*/ 63129 w 327343"/>
                <a:gd name="connsiteY14" fmla="*/ -102 h 394763"/>
                <a:gd name="connsiteX15" fmla="*/ 63129 w 327343"/>
                <a:gd name="connsiteY15" fmla="*/ 224072 h 394763"/>
                <a:gd name="connsiteX16" fmla="*/ 63986 w 327343"/>
                <a:gd name="connsiteY16" fmla="*/ 253116 h 394763"/>
                <a:gd name="connsiteX17" fmla="*/ 68094 w 327343"/>
                <a:gd name="connsiteY17" fmla="*/ 280287 h 394763"/>
                <a:gd name="connsiteX18" fmla="*/ 77667 w 327343"/>
                <a:gd name="connsiteY18" fmla="*/ 304205 h 394763"/>
                <a:gd name="connsiteX19" fmla="*/ 94768 w 327343"/>
                <a:gd name="connsiteY19" fmla="*/ 323345 h 394763"/>
                <a:gd name="connsiteX20" fmla="*/ 121304 w 327343"/>
                <a:gd name="connsiteY20" fmla="*/ 335814 h 394763"/>
                <a:gd name="connsiteX21" fmla="*/ 159614 w 327343"/>
                <a:gd name="connsiteY21" fmla="*/ 340258 h 394763"/>
                <a:gd name="connsiteX22" fmla="*/ 215532 w 327343"/>
                <a:gd name="connsiteY22" fmla="*/ 331888 h 394763"/>
                <a:gd name="connsiteX23" fmla="*/ 246832 w 327343"/>
                <a:gd name="connsiteY23" fmla="*/ 308137 h 394763"/>
                <a:gd name="connsiteX24" fmla="*/ 260347 w 327343"/>
                <a:gd name="connsiteY24" fmla="*/ 271401 h 394763"/>
                <a:gd name="connsiteX25" fmla="*/ 263249 w 327343"/>
                <a:gd name="connsiteY25" fmla="*/ 224072 h 394763"/>
                <a:gd name="connsiteX26" fmla="*/ 263249 w 327343"/>
                <a:gd name="connsiteY26" fmla="*/ -102 h 394763"/>
                <a:gd name="connsiteX27" fmla="*/ 327183 w 327343"/>
                <a:gd name="connsiteY27" fmla="*/ -102 h 3947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27343" h="394763">
                  <a:moveTo>
                    <a:pt x="327195" y="224755"/>
                  </a:moveTo>
                  <a:cubicBezTo>
                    <a:pt x="327195" y="236836"/>
                    <a:pt x="326683" y="249428"/>
                    <a:pt x="325655" y="262525"/>
                  </a:cubicBezTo>
                  <a:cubicBezTo>
                    <a:pt x="324632" y="275611"/>
                    <a:pt x="322225" y="288558"/>
                    <a:pt x="318477" y="301139"/>
                  </a:cubicBezTo>
                  <a:cubicBezTo>
                    <a:pt x="314708" y="313780"/>
                    <a:pt x="309243" y="325850"/>
                    <a:pt x="302227" y="337020"/>
                  </a:cubicBezTo>
                  <a:cubicBezTo>
                    <a:pt x="294727" y="348740"/>
                    <a:pt x="284959" y="358849"/>
                    <a:pt x="273495" y="366747"/>
                  </a:cubicBezTo>
                  <a:cubicBezTo>
                    <a:pt x="259825" y="376023"/>
                    <a:pt x="244669" y="382893"/>
                    <a:pt x="228686" y="387076"/>
                  </a:cubicBezTo>
                  <a:cubicBezTo>
                    <a:pt x="207576" y="392497"/>
                    <a:pt x="185828" y="395024"/>
                    <a:pt x="164040" y="394596"/>
                  </a:cubicBezTo>
                  <a:cubicBezTo>
                    <a:pt x="140268" y="395141"/>
                    <a:pt x="116540" y="392264"/>
                    <a:pt x="93584" y="386054"/>
                  </a:cubicBezTo>
                  <a:cubicBezTo>
                    <a:pt x="76784" y="381411"/>
                    <a:pt x="60961" y="373768"/>
                    <a:pt x="46885" y="363498"/>
                  </a:cubicBezTo>
                  <a:cubicBezTo>
                    <a:pt x="35393" y="354988"/>
                    <a:pt x="25881" y="344090"/>
                    <a:pt x="19009" y="331554"/>
                  </a:cubicBezTo>
                  <a:cubicBezTo>
                    <a:pt x="12749" y="319935"/>
                    <a:pt x="8085" y="307521"/>
                    <a:pt x="5155" y="294651"/>
                  </a:cubicBezTo>
                  <a:cubicBezTo>
                    <a:pt x="2364" y="282476"/>
                    <a:pt x="757" y="270056"/>
                    <a:pt x="368" y="257570"/>
                  </a:cubicBezTo>
                  <a:cubicBezTo>
                    <a:pt x="18" y="245500"/>
                    <a:pt x="-154" y="234564"/>
                    <a:pt x="-149" y="224766"/>
                  </a:cubicBezTo>
                  <a:lnTo>
                    <a:pt x="-149" y="-102"/>
                  </a:lnTo>
                  <a:lnTo>
                    <a:pt x="63129" y="-102"/>
                  </a:lnTo>
                  <a:lnTo>
                    <a:pt x="63129" y="224072"/>
                  </a:lnTo>
                  <a:cubicBezTo>
                    <a:pt x="63129" y="233870"/>
                    <a:pt x="63413" y="243551"/>
                    <a:pt x="63986" y="253116"/>
                  </a:cubicBezTo>
                  <a:cubicBezTo>
                    <a:pt x="64491" y="262280"/>
                    <a:pt x="65865" y="271379"/>
                    <a:pt x="68094" y="280287"/>
                  </a:cubicBezTo>
                  <a:cubicBezTo>
                    <a:pt x="70184" y="288658"/>
                    <a:pt x="73403" y="296701"/>
                    <a:pt x="77667" y="304205"/>
                  </a:cubicBezTo>
                  <a:cubicBezTo>
                    <a:pt x="81965" y="311709"/>
                    <a:pt x="87791" y="318230"/>
                    <a:pt x="94768" y="323345"/>
                  </a:cubicBezTo>
                  <a:cubicBezTo>
                    <a:pt x="102774" y="329094"/>
                    <a:pt x="111769" y="333321"/>
                    <a:pt x="121304" y="335814"/>
                  </a:cubicBezTo>
                  <a:cubicBezTo>
                    <a:pt x="133813" y="339025"/>
                    <a:pt x="146700" y="340519"/>
                    <a:pt x="159614" y="340258"/>
                  </a:cubicBezTo>
                  <a:cubicBezTo>
                    <a:pt x="178611" y="340980"/>
                    <a:pt x="197580" y="338136"/>
                    <a:pt x="215532" y="331888"/>
                  </a:cubicBezTo>
                  <a:cubicBezTo>
                    <a:pt x="228096" y="327255"/>
                    <a:pt x="238993" y="318985"/>
                    <a:pt x="246832" y="308137"/>
                  </a:cubicBezTo>
                  <a:cubicBezTo>
                    <a:pt x="254182" y="297129"/>
                    <a:pt x="258813" y="284542"/>
                    <a:pt x="260347" y="271401"/>
                  </a:cubicBezTo>
                  <a:cubicBezTo>
                    <a:pt x="262371" y="255704"/>
                    <a:pt x="263338" y="239896"/>
                    <a:pt x="263249" y="224072"/>
                  </a:cubicBezTo>
                  <a:lnTo>
                    <a:pt x="263249" y="-102"/>
                  </a:lnTo>
                  <a:lnTo>
                    <a:pt x="327183" y="-102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181CC5DD-F71B-4B0C-9F36-53D282D47166}"/>
                </a:ext>
              </a:extLst>
            </p:cNvPr>
            <p:cNvSpPr/>
            <p:nvPr/>
          </p:nvSpPr>
          <p:spPr>
            <a:xfrm>
              <a:off x="7194849" y="4317668"/>
              <a:ext cx="401896" cy="388544"/>
            </a:xfrm>
            <a:custGeom>
              <a:avLst/>
              <a:gdLst>
                <a:gd name="connsiteX0" fmla="*/ 401747 w 401896"/>
                <a:gd name="connsiteY0" fmla="*/ 388442 h 388544"/>
                <a:gd name="connsiteX1" fmla="*/ 342233 w 401896"/>
                <a:gd name="connsiteY1" fmla="*/ 388442 h 388544"/>
                <a:gd name="connsiteX2" fmla="*/ 342233 w 401896"/>
                <a:gd name="connsiteY2" fmla="*/ 78509 h 388544"/>
                <a:gd name="connsiteX3" fmla="*/ 340176 w 401896"/>
                <a:gd name="connsiteY3" fmla="*/ 78509 h 388544"/>
                <a:gd name="connsiteX4" fmla="*/ 223882 w 401896"/>
                <a:gd name="connsiteY4" fmla="*/ 388442 h 388544"/>
                <a:gd name="connsiteX5" fmla="*/ 176343 w 401896"/>
                <a:gd name="connsiteY5" fmla="*/ 388442 h 388544"/>
                <a:gd name="connsiteX6" fmla="*/ 60733 w 401896"/>
                <a:gd name="connsiteY6" fmla="*/ 72688 h 388544"/>
                <a:gd name="connsiteX7" fmla="*/ 59365 w 401896"/>
                <a:gd name="connsiteY7" fmla="*/ 72688 h 388544"/>
                <a:gd name="connsiteX8" fmla="*/ 59365 w 401896"/>
                <a:gd name="connsiteY8" fmla="*/ 388442 h 388544"/>
                <a:gd name="connsiteX9" fmla="*/ -149 w 401896"/>
                <a:gd name="connsiteY9" fmla="*/ 388442 h 388544"/>
                <a:gd name="connsiteX10" fmla="*/ -149 w 401896"/>
                <a:gd name="connsiteY10" fmla="*/ -102 h 388544"/>
                <a:gd name="connsiteX11" fmla="*/ 89448 w 401896"/>
                <a:gd name="connsiteY11" fmla="*/ -102 h 388544"/>
                <a:gd name="connsiteX12" fmla="*/ 183164 w 401896"/>
                <a:gd name="connsiteY12" fmla="*/ 254843 h 388544"/>
                <a:gd name="connsiteX13" fmla="*/ 194623 w 401896"/>
                <a:gd name="connsiteY13" fmla="*/ 289358 h 388544"/>
                <a:gd name="connsiteX14" fmla="*/ 201978 w 401896"/>
                <a:gd name="connsiteY14" fmla="*/ 317035 h 388544"/>
                <a:gd name="connsiteX15" fmla="*/ 202661 w 401896"/>
                <a:gd name="connsiteY15" fmla="*/ 317035 h 388544"/>
                <a:gd name="connsiteX16" fmla="*/ 211557 w 401896"/>
                <a:gd name="connsiteY16" fmla="*/ 288847 h 388544"/>
                <a:gd name="connsiteX17" fmla="*/ 224549 w 401896"/>
                <a:gd name="connsiteY17" fmla="*/ 250744 h 388544"/>
                <a:gd name="connsiteX18" fmla="*/ 320668 w 401896"/>
                <a:gd name="connsiteY18" fmla="*/ -86 h 388544"/>
                <a:gd name="connsiteX19" fmla="*/ 401731 w 401896"/>
                <a:gd name="connsiteY19" fmla="*/ -86 h 38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1896" h="388544">
                  <a:moveTo>
                    <a:pt x="401747" y="388442"/>
                  </a:moveTo>
                  <a:lnTo>
                    <a:pt x="342233" y="388442"/>
                  </a:lnTo>
                  <a:lnTo>
                    <a:pt x="342233" y="78509"/>
                  </a:lnTo>
                  <a:lnTo>
                    <a:pt x="340176" y="78509"/>
                  </a:lnTo>
                  <a:lnTo>
                    <a:pt x="223882" y="388442"/>
                  </a:lnTo>
                  <a:lnTo>
                    <a:pt x="176343" y="388442"/>
                  </a:lnTo>
                  <a:lnTo>
                    <a:pt x="60733" y="72688"/>
                  </a:lnTo>
                  <a:lnTo>
                    <a:pt x="59365" y="72688"/>
                  </a:lnTo>
                  <a:lnTo>
                    <a:pt x="59365" y="388442"/>
                  </a:lnTo>
                  <a:lnTo>
                    <a:pt x="-149" y="388442"/>
                  </a:lnTo>
                  <a:lnTo>
                    <a:pt x="-149" y="-102"/>
                  </a:lnTo>
                  <a:lnTo>
                    <a:pt x="89448" y="-102"/>
                  </a:lnTo>
                  <a:lnTo>
                    <a:pt x="183164" y="254843"/>
                  </a:lnTo>
                  <a:cubicBezTo>
                    <a:pt x="187723" y="266690"/>
                    <a:pt x="191542" y="278199"/>
                    <a:pt x="194623" y="289358"/>
                  </a:cubicBezTo>
                  <a:cubicBezTo>
                    <a:pt x="197702" y="300517"/>
                    <a:pt x="200154" y="309742"/>
                    <a:pt x="201978" y="317035"/>
                  </a:cubicBezTo>
                  <a:lnTo>
                    <a:pt x="202661" y="317035"/>
                  </a:lnTo>
                  <a:cubicBezTo>
                    <a:pt x="205169" y="309998"/>
                    <a:pt x="208138" y="300605"/>
                    <a:pt x="211557" y="288847"/>
                  </a:cubicBezTo>
                  <a:cubicBezTo>
                    <a:pt x="214976" y="277088"/>
                    <a:pt x="219307" y="264391"/>
                    <a:pt x="224549" y="250744"/>
                  </a:cubicBezTo>
                  <a:lnTo>
                    <a:pt x="320668" y="-86"/>
                  </a:lnTo>
                  <a:lnTo>
                    <a:pt x="401731" y="-86"/>
                  </a:lnTo>
                  <a:close/>
                </a:path>
              </a:pathLst>
            </a:custGeom>
            <a:solidFill>
              <a:srgbClr val="FFFFFF"/>
            </a:solidFill>
            <a:ln w="554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687964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Energ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aphic 1">
            <a:extLst>
              <a:ext uri="{FF2B5EF4-FFF2-40B4-BE49-F238E27FC236}">
                <a16:creationId xmlns:a16="http://schemas.microsoft.com/office/drawing/2014/main" xmlns="" id="{D8E470A1-4816-4314-A51A-90B01F4EBEC7}"/>
              </a:ext>
            </a:extLst>
          </p:cNvPr>
          <p:cNvGrpSpPr/>
          <p:nvPr/>
        </p:nvGrpSpPr>
        <p:grpSpPr>
          <a:xfrm>
            <a:off x="4975504" y="1919842"/>
            <a:ext cx="2261198" cy="2812813"/>
            <a:chOff x="4975504" y="1919842"/>
            <a:chExt cx="2261198" cy="2812813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0A628651-6CF5-4D8A-B5DD-B0115E94F372}"/>
                </a:ext>
              </a:extLst>
            </p:cNvPr>
            <p:cNvSpPr/>
            <p:nvPr/>
          </p:nvSpPr>
          <p:spPr>
            <a:xfrm>
              <a:off x="4975509" y="4331994"/>
              <a:ext cx="313867" cy="392743"/>
            </a:xfrm>
            <a:custGeom>
              <a:avLst/>
              <a:gdLst>
                <a:gd name="connsiteX0" fmla="*/ 313646 w 313867"/>
                <a:gd name="connsiteY0" fmla="*/ 392642 h 392743"/>
                <a:gd name="connsiteX1" fmla="*/ -221 w 313867"/>
                <a:gd name="connsiteY1" fmla="*/ 392642 h 392743"/>
                <a:gd name="connsiteX2" fmla="*/ -221 w 313867"/>
                <a:gd name="connsiteY2" fmla="*/ -102 h 392743"/>
                <a:gd name="connsiteX3" fmla="*/ 303617 w 313867"/>
                <a:gd name="connsiteY3" fmla="*/ -102 h 392743"/>
                <a:gd name="connsiteX4" fmla="*/ 303617 w 313867"/>
                <a:gd name="connsiteY4" fmla="*/ 55166 h 392743"/>
                <a:gd name="connsiteX5" fmla="*/ 64139 w 313867"/>
                <a:gd name="connsiteY5" fmla="*/ 55166 h 392743"/>
                <a:gd name="connsiteX6" fmla="*/ 64139 w 313867"/>
                <a:gd name="connsiteY6" fmla="*/ 161901 h 392743"/>
                <a:gd name="connsiteX7" fmla="*/ 288042 w 313867"/>
                <a:gd name="connsiteY7" fmla="*/ 161901 h 392743"/>
                <a:gd name="connsiteX8" fmla="*/ 288042 w 313867"/>
                <a:gd name="connsiteY8" fmla="*/ 217169 h 392743"/>
                <a:gd name="connsiteX9" fmla="*/ 64139 w 313867"/>
                <a:gd name="connsiteY9" fmla="*/ 217169 h 392743"/>
                <a:gd name="connsiteX10" fmla="*/ 64139 w 313867"/>
                <a:gd name="connsiteY10" fmla="*/ 337384 h 392743"/>
                <a:gd name="connsiteX11" fmla="*/ 313646 w 313867"/>
                <a:gd name="connsiteY11" fmla="*/ 337384 h 39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867" h="392743">
                  <a:moveTo>
                    <a:pt x="313646" y="392642"/>
                  </a:moveTo>
                  <a:lnTo>
                    <a:pt x="-221" y="392642"/>
                  </a:lnTo>
                  <a:lnTo>
                    <a:pt x="-221" y="-102"/>
                  </a:lnTo>
                  <a:lnTo>
                    <a:pt x="303617" y="-102"/>
                  </a:lnTo>
                  <a:lnTo>
                    <a:pt x="303617" y="55166"/>
                  </a:lnTo>
                  <a:lnTo>
                    <a:pt x="64139" y="55166"/>
                  </a:lnTo>
                  <a:lnTo>
                    <a:pt x="64139" y="161901"/>
                  </a:lnTo>
                  <a:lnTo>
                    <a:pt x="288042" y="161901"/>
                  </a:lnTo>
                  <a:lnTo>
                    <a:pt x="288042" y="217169"/>
                  </a:lnTo>
                  <a:lnTo>
                    <a:pt x="64139" y="217169"/>
                  </a:lnTo>
                  <a:lnTo>
                    <a:pt x="64139" y="337384"/>
                  </a:lnTo>
                  <a:lnTo>
                    <a:pt x="313646" y="337384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E5CD5EDB-0C62-471D-BE05-DC68A8ABDCA5}"/>
                </a:ext>
              </a:extLst>
            </p:cNvPr>
            <p:cNvSpPr/>
            <p:nvPr/>
          </p:nvSpPr>
          <p:spPr>
            <a:xfrm>
              <a:off x="5337233" y="4331994"/>
              <a:ext cx="330832" cy="392743"/>
            </a:xfrm>
            <a:custGeom>
              <a:avLst/>
              <a:gdLst>
                <a:gd name="connsiteX0" fmla="*/ 330611 w 330832"/>
                <a:gd name="connsiteY0" fmla="*/ 392642 h 392743"/>
                <a:gd name="connsiteX1" fmla="*/ 264851 w 330832"/>
                <a:gd name="connsiteY1" fmla="*/ 392642 h 392743"/>
                <a:gd name="connsiteX2" fmla="*/ 62057 w 330832"/>
                <a:gd name="connsiteY2" fmla="*/ 96269 h 392743"/>
                <a:gd name="connsiteX3" fmla="*/ 60668 w 330832"/>
                <a:gd name="connsiteY3" fmla="*/ 96269 h 392743"/>
                <a:gd name="connsiteX4" fmla="*/ 60668 w 330832"/>
                <a:gd name="connsiteY4" fmla="*/ 392642 h 392743"/>
                <a:gd name="connsiteX5" fmla="*/ -221 w 330832"/>
                <a:gd name="connsiteY5" fmla="*/ 392642 h 392743"/>
                <a:gd name="connsiteX6" fmla="*/ -221 w 330832"/>
                <a:gd name="connsiteY6" fmla="*/ -102 h 392743"/>
                <a:gd name="connsiteX7" fmla="*/ 64836 w 330832"/>
                <a:gd name="connsiteY7" fmla="*/ -102 h 392743"/>
                <a:gd name="connsiteX8" fmla="*/ 267629 w 330832"/>
                <a:gd name="connsiteY8" fmla="*/ 296265 h 392743"/>
                <a:gd name="connsiteX9" fmla="*/ 269013 w 330832"/>
                <a:gd name="connsiteY9" fmla="*/ 296265 h 392743"/>
                <a:gd name="connsiteX10" fmla="*/ 269013 w 330832"/>
                <a:gd name="connsiteY10" fmla="*/ -102 h 392743"/>
                <a:gd name="connsiteX11" fmla="*/ 330611 w 330832"/>
                <a:gd name="connsiteY11" fmla="*/ -102 h 39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30832" h="392743">
                  <a:moveTo>
                    <a:pt x="330611" y="392642"/>
                  </a:moveTo>
                  <a:lnTo>
                    <a:pt x="264851" y="392642"/>
                  </a:lnTo>
                  <a:lnTo>
                    <a:pt x="62057" y="96269"/>
                  </a:lnTo>
                  <a:lnTo>
                    <a:pt x="60668" y="96269"/>
                  </a:lnTo>
                  <a:lnTo>
                    <a:pt x="60668" y="392642"/>
                  </a:lnTo>
                  <a:lnTo>
                    <a:pt x="-221" y="392642"/>
                  </a:lnTo>
                  <a:lnTo>
                    <a:pt x="-221" y="-102"/>
                  </a:lnTo>
                  <a:lnTo>
                    <a:pt x="64836" y="-102"/>
                  </a:lnTo>
                  <a:lnTo>
                    <a:pt x="267629" y="296265"/>
                  </a:lnTo>
                  <a:lnTo>
                    <a:pt x="269013" y="296265"/>
                  </a:lnTo>
                  <a:lnTo>
                    <a:pt x="269013" y="-102"/>
                  </a:lnTo>
                  <a:lnTo>
                    <a:pt x="330611" y="-102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D8BA06F5-0EBB-4726-B5B8-3B73B10EE83E}"/>
                </a:ext>
              </a:extLst>
            </p:cNvPr>
            <p:cNvSpPr/>
            <p:nvPr/>
          </p:nvSpPr>
          <p:spPr>
            <a:xfrm>
              <a:off x="5730980" y="4331994"/>
              <a:ext cx="313867" cy="392743"/>
            </a:xfrm>
            <a:custGeom>
              <a:avLst/>
              <a:gdLst>
                <a:gd name="connsiteX0" fmla="*/ 313647 w 313867"/>
                <a:gd name="connsiteY0" fmla="*/ 392642 h 392743"/>
                <a:gd name="connsiteX1" fmla="*/ -221 w 313867"/>
                <a:gd name="connsiteY1" fmla="*/ 392642 h 392743"/>
                <a:gd name="connsiteX2" fmla="*/ -221 w 313867"/>
                <a:gd name="connsiteY2" fmla="*/ -102 h 392743"/>
                <a:gd name="connsiteX3" fmla="*/ 303623 w 313867"/>
                <a:gd name="connsiteY3" fmla="*/ -102 h 392743"/>
                <a:gd name="connsiteX4" fmla="*/ 303623 w 313867"/>
                <a:gd name="connsiteY4" fmla="*/ 55166 h 392743"/>
                <a:gd name="connsiteX5" fmla="*/ 64139 w 313867"/>
                <a:gd name="connsiteY5" fmla="*/ 55166 h 392743"/>
                <a:gd name="connsiteX6" fmla="*/ 64139 w 313867"/>
                <a:gd name="connsiteY6" fmla="*/ 161901 h 392743"/>
                <a:gd name="connsiteX7" fmla="*/ 288037 w 313867"/>
                <a:gd name="connsiteY7" fmla="*/ 161901 h 392743"/>
                <a:gd name="connsiteX8" fmla="*/ 288037 w 313867"/>
                <a:gd name="connsiteY8" fmla="*/ 217169 h 392743"/>
                <a:gd name="connsiteX9" fmla="*/ 64139 w 313867"/>
                <a:gd name="connsiteY9" fmla="*/ 217169 h 392743"/>
                <a:gd name="connsiteX10" fmla="*/ 64139 w 313867"/>
                <a:gd name="connsiteY10" fmla="*/ 337384 h 392743"/>
                <a:gd name="connsiteX11" fmla="*/ 313647 w 313867"/>
                <a:gd name="connsiteY11" fmla="*/ 337384 h 39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867" h="392743">
                  <a:moveTo>
                    <a:pt x="313647" y="392642"/>
                  </a:moveTo>
                  <a:lnTo>
                    <a:pt x="-221" y="392642"/>
                  </a:lnTo>
                  <a:lnTo>
                    <a:pt x="-221" y="-102"/>
                  </a:lnTo>
                  <a:lnTo>
                    <a:pt x="303623" y="-102"/>
                  </a:lnTo>
                  <a:lnTo>
                    <a:pt x="303623" y="55166"/>
                  </a:lnTo>
                  <a:lnTo>
                    <a:pt x="64139" y="55166"/>
                  </a:lnTo>
                  <a:lnTo>
                    <a:pt x="64139" y="161901"/>
                  </a:lnTo>
                  <a:lnTo>
                    <a:pt x="288037" y="161901"/>
                  </a:lnTo>
                  <a:lnTo>
                    <a:pt x="288037" y="217169"/>
                  </a:lnTo>
                  <a:lnTo>
                    <a:pt x="64139" y="217169"/>
                  </a:lnTo>
                  <a:lnTo>
                    <a:pt x="64139" y="337384"/>
                  </a:lnTo>
                  <a:lnTo>
                    <a:pt x="313647" y="337384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ACC530A2-56C2-408D-A0D7-60C921B47FC5}"/>
                </a:ext>
              </a:extLst>
            </p:cNvPr>
            <p:cNvSpPr/>
            <p:nvPr/>
          </p:nvSpPr>
          <p:spPr>
            <a:xfrm>
              <a:off x="6098323" y="4331980"/>
              <a:ext cx="371337" cy="392758"/>
            </a:xfrm>
            <a:custGeom>
              <a:avLst/>
              <a:gdLst>
                <a:gd name="connsiteX0" fmla="*/ 371116 w 371337"/>
                <a:gd name="connsiteY0" fmla="*/ 392656 h 392758"/>
                <a:gd name="connsiteX1" fmla="*/ 292199 w 371337"/>
                <a:gd name="connsiteY1" fmla="*/ 392656 h 392758"/>
                <a:gd name="connsiteX2" fmla="*/ 218513 w 371337"/>
                <a:gd name="connsiteY2" fmla="*/ 285230 h 392758"/>
                <a:gd name="connsiteX3" fmla="*/ 195153 w 371337"/>
                <a:gd name="connsiteY3" fmla="*/ 254311 h 392758"/>
                <a:gd name="connsiteX4" fmla="*/ 173700 w 371337"/>
                <a:gd name="connsiteY4" fmla="*/ 234622 h 392758"/>
                <a:gd name="connsiteX5" fmla="*/ 149991 w 371337"/>
                <a:gd name="connsiteY5" fmla="*/ 224257 h 392758"/>
                <a:gd name="connsiteX6" fmla="*/ 120230 w 371337"/>
                <a:gd name="connsiteY6" fmla="*/ 221327 h 392758"/>
                <a:gd name="connsiteX7" fmla="*/ 64167 w 371337"/>
                <a:gd name="connsiteY7" fmla="*/ 221327 h 392758"/>
                <a:gd name="connsiteX8" fmla="*/ 64167 w 371337"/>
                <a:gd name="connsiteY8" fmla="*/ 392656 h 392758"/>
                <a:gd name="connsiteX9" fmla="*/ -221 w 371337"/>
                <a:gd name="connsiteY9" fmla="*/ 392656 h 392758"/>
                <a:gd name="connsiteX10" fmla="*/ -221 w 371337"/>
                <a:gd name="connsiteY10" fmla="*/ -88 h 392758"/>
                <a:gd name="connsiteX11" fmla="*/ 186648 w 371337"/>
                <a:gd name="connsiteY11" fmla="*/ -88 h 392758"/>
                <a:gd name="connsiteX12" fmla="*/ 248944 w 371337"/>
                <a:gd name="connsiteY12" fmla="*/ 5442 h 392758"/>
                <a:gd name="connsiteX13" fmla="*/ 296007 w 371337"/>
                <a:gd name="connsiteY13" fmla="*/ 23571 h 392758"/>
                <a:gd name="connsiteX14" fmla="*/ 325768 w 371337"/>
                <a:gd name="connsiteY14" fmla="*/ 56729 h 392758"/>
                <a:gd name="connsiteX15" fmla="*/ 336152 w 371337"/>
                <a:gd name="connsiteY15" fmla="*/ 107686 h 392758"/>
                <a:gd name="connsiteX16" fmla="*/ 306216 w 371337"/>
                <a:gd name="connsiteY16" fmla="*/ 180392 h 392758"/>
                <a:gd name="connsiteX17" fmla="*/ 217799 w 371337"/>
                <a:gd name="connsiteY17" fmla="*/ 215802 h 392758"/>
                <a:gd name="connsiteX18" fmla="*/ 217799 w 371337"/>
                <a:gd name="connsiteY18" fmla="*/ 217183 h 392758"/>
                <a:gd name="connsiteX19" fmla="*/ 297391 w 371337"/>
                <a:gd name="connsiteY19" fmla="*/ 287302 h 392758"/>
                <a:gd name="connsiteX20" fmla="*/ 64161 w 371337"/>
                <a:gd name="connsiteY20" fmla="*/ 171931 h 392758"/>
                <a:gd name="connsiteX21" fmla="*/ 173171 w 371337"/>
                <a:gd name="connsiteY21" fmla="*/ 171931 h 392758"/>
                <a:gd name="connsiteX22" fmla="*/ 245496 w 371337"/>
                <a:gd name="connsiteY22" fmla="*/ 157081 h 392758"/>
                <a:gd name="connsiteX23" fmla="*/ 270414 w 371337"/>
                <a:gd name="connsiteY23" fmla="*/ 107674 h 392758"/>
                <a:gd name="connsiteX24" fmla="*/ 249135 w 371337"/>
                <a:gd name="connsiteY24" fmla="*/ 66049 h 392758"/>
                <a:gd name="connsiteX25" fmla="*/ 180438 w 371337"/>
                <a:gd name="connsiteY25" fmla="*/ 51716 h 392758"/>
                <a:gd name="connsiteX26" fmla="*/ 64144 w 371337"/>
                <a:gd name="connsiteY26" fmla="*/ 51716 h 3927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371337" h="392758">
                  <a:moveTo>
                    <a:pt x="371116" y="392656"/>
                  </a:moveTo>
                  <a:lnTo>
                    <a:pt x="292199" y="392656"/>
                  </a:lnTo>
                  <a:lnTo>
                    <a:pt x="218513" y="285230"/>
                  </a:lnTo>
                  <a:cubicBezTo>
                    <a:pt x="211280" y="274518"/>
                    <a:pt x="203483" y="264198"/>
                    <a:pt x="195153" y="254311"/>
                  </a:cubicBezTo>
                  <a:cubicBezTo>
                    <a:pt x="188887" y="246850"/>
                    <a:pt x="181676" y="240231"/>
                    <a:pt x="173700" y="234622"/>
                  </a:cubicBezTo>
                  <a:cubicBezTo>
                    <a:pt x="166517" y="229715"/>
                    <a:pt x="158473" y="226200"/>
                    <a:pt x="149991" y="224257"/>
                  </a:cubicBezTo>
                  <a:cubicBezTo>
                    <a:pt x="140209" y="222180"/>
                    <a:pt x="130231" y="221198"/>
                    <a:pt x="120230" y="221327"/>
                  </a:cubicBezTo>
                  <a:lnTo>
                    <a:pt x="64167" y="221327"/>
                  </a:lnTo>
                  <a:lnTo>
                    <a:pt x="64167" y="392656"/>
                  </a:lnTo>
                  <a:lnTo>
                    <a:pt x="-221" y="392656"/>
                  </a:lnTo>
                  <a:lnTo>
                    <a:pt x="-221" y="-88"/>
                  </a:lnTo>
                  <a:lnTo>
                    <a:pt x="186648" y="-88"/>
                  </a:lnTo>
                  <a:cubicBezTo>
                    <a:pt x="207545" y="-285"/>
                    <a:pt x="228407" y="1568"/>
                    <a:pt x="248944" y="5442"/>
                  </a:cubicBezTo>
                  <a:cubicBezTo>
                    <a:pt x="265644" y="8440"/>
                    <a:pt x="281619" y="14593"/>
                    <a:pt x="296007" y="23571"/>
                  </a:cubicBezTo>
                  <a:cubicBezTo>
                    <a:pt x="308725" y="31762"/>
                    <a:pt x="319007" y="43216"/>
                    <a:pt x="325768" y="56729"/>
                  </a:cubicBezTo>
                  <a:cubicBezTo>
                    <a:pt x="333165" y="72674"/>
                    <a:pt x="336720" y="90124"/>
                    <a:pt x="336152" y="107686"/>
                  </a:cubicBezTo>
                  <a:cubicBezTo>
                    <a:pt x="337192" y="135106"/>
                    <a:pt x="326274" y="161629"/>
                    <a:pt x="306216" y="180392"/>
                  </a:cubicBezTo>
                  <a:cubicBezTo>
                    <a:pt x="286253" y="198936"/>
                    <a:pt x="256779" y="210744"/>
                    <a:pt x="217799" y="215802"/>
                  </a:cubicBezTo>
                  <a:lnTo>
                    <a:pt x="217799" y="217183"/>
                  </a:lnTo>
                  <a:cubicBezTo>
                    <a:pt x="246171" y="228463"/>
                    <a:pt x="272703" y="251835"/>
                    <a:pt x="297391" y="287302"/>
                  </a:cubicBezTo>
                  <a:close/>
                  <a:moveTo>
                    <a:pt x="64161" y="171931"/>
                  </a:moveTo>
                  <a:lnTo>
                    <a:pt x="173171" y="171931"/>
                  </a:lnTo>
                  <a:cubicBezTo>
                    <a:pt x="204777" y="171931"/>
                    <a:pt x="228885" y="166979"/>
                    <a:pt x="245496" y="157081"/>
                  </a:cubicBezTo>
                  <a:cubicBezTo>
                    <a:pt x="262106" y="147183"/>
                    <a:pt x="270414" y="130710"/>
                    <a:pt x="270414" y="107674"/>
                  </a:cubicBezTo>
                  <a:cubicBezTo>
                    <a:pt x="271201" y="91017"/>
                    <a:pt x="263107" y="75189"/>
                    <a:pt x="249135" y="66049"/>
                  </a:cubicBezTo>
                  <a:cubicBezTo>
                    <a:pt x="234943" y="56494"/>
                    <a:pt x="212044" y="51716"/>
                    <a:pt x="180438" y="51716"/>
                  </a:cubicBezTo>
                  <a:lnTo>
                    <a:pt x="64144" y="51716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0746657D-024D-49B5-864B-EDAA7641378B}"/>
                </a:ext>
              </a:extLst>
            </p:cNvPr>
            <p:cNvSpPr/>
            <p:nvPr/>
          </p:nvSpPr>
          <p:spPr>
            <a:xfrm>
              <a:off x="6471023" y="4325744"/>
              <a:ext cx="386224" cy="405227"/>
            </a:xfrm>
            <a:custGeom>
              <a:avLst/>
              <a:gdLst>
                <a:gd name="connsiteX0" fmla="*/ 386003 w 386224"/>
                <a:gd name="connsiteY0" fmla="*/ 345695 h 405227"/>
                <a:gd name="connsiteX1" fmla="*/ 209512 w 386224"/>
                <a:gd name="connsiteY1" fmla="*/ 405107 h 405227"/>
                <a:gd name="connsiteX2" fmla="*/ 124205 w 386224"/>
                <a:gd name="connsiteY2" fmla="*/ 390768 h 405227"/>
                <a:gd name="connsiteX3" fmla="*/ 57933 w 386224"/>
                <a:gd name="connsiteY3" fmla="*/ 350007 h 405227"/>
                <a:gd name="connsiteX4" fmla="*/ 15026 w 386224"/>
                <a:gd name="connsiteY4" fmla="*/ 286452 h 405227"/>
                <a:gd name="connsiteX5" fmla="*/ -200 w 386224"/>
                <a:gd name="connsiteY5" fmla="*/ 203730 h 405227"/>
                <a:gd name="connsiteX6" fmla="*/ 13986 w 386224"/>
                <a:gd name="connsiteY6" fmla="*/ 121344 h 405227"/>
                <a:gd name="connsiteX7" fmla="*/ 54991 w 386224"/>
                <a:gd name="connsiteY7" fmla="*/ 56924 h 405227"/>
                <a:gd name="connsiteX8" fmla="*/ 120740 w 386224"/>
                <a:gd name="connsiteY8" fmla="*/ 14957 h 405227"/>
                <a:gd name="connsiteX9" fmla="*/ 209512 w 386224"/>
                <a:gd name="connsiteY9" fmla="*/ -67 h 405227"/>
                <a:gd name="connsiteX10" fmla="*/ 379771 w 386224"/>
                <a:gd name="connsiteY10" fmla="*/ 111850 h 405227"/>
                <a:gd name="connsiteX11" fmla="*/ 321632 w 386224"/>
                <a:gd name="connsiteY11" fmla="*/ 124280 h 405227"/>
                <a:gd name="connsiteX12" fmla="*/ 207447 w 386224"/>
                <a:gd name="connsiteY12" fmla="*/ 53129 h 405227"/>
                <a:gd name="connsiteX13" fmla="*/ 146018 w 386224"/>
                <a:gd name="connsiteY13" fmla="*/ 63835 h 405227"/>
                <a:gd name="connsiteX14" fmla="*/ 101897 w 386224"/>
                <a:gd name="connsiteY14" fmla="*/ 94058 h 405227"/>
                <a:gd name="connsiteX15" fmla="*/ 75420 w 386224"/>
                <a:gd name="connsiteY15" fmla="*/ 140865 h 405227"/>
                <a:gd name="connsiteX16" fmla="*/ 76287 w 386224"/>
                <a:gd name="connsiteY16" fmla="*/ 264691 h 405227"/>
                <a:gd name="connsiteX17" fmla="*/ 103972 w 386224"/>
                <a:gd name="connsiteY17" fmla="*/ 311498 h 405227"/>
                <a:gd name="connsiteX18" fmla="*/ 147925 w 386224"/>
                <a:gd name="connsiteY18" fmla="*/ 340339 h 405227"/>
                <a:gd name="connsiteX19" fmla="*/ 206756 w 386224"/>
                <a:gd name="connsiteY19" fmla="*/ 350187 h 405227"/>
                <a:gd name="connsiteX20" fmla="*/ 324411 w 386224"/>
                <a:gd name="connsiteY20" fmla="*/ 315299 h 405227"/>
                <a:gd name="connsiteX21" fmla="*/ 324411 w 386224"/>
                <a:gd name="connsiteY21" fmla="*/ 251048 h 405227"/>
                <a:gd name="connsiteX22" fmla="*/ 204663 w 386224"/>
                <a:gd name="connsiteY22" fmla="*/ 251048 h 405227"/>
                <a:gd name="connsiteX23" fmla="*/ 204663 w 386224"/>
                <a:gd name="connsiteY23" fmla="*/ 194404 h 405227"/>
                <a:gd name="connsiteX24" fmla="*/ 386003 w 386224"/>
                <a:gd name="connsiteY24" fmla="*/ 194404 h 405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86224" h="405227">
                  <a:moveTo>
                    <a:pt x="386003" y="345695"/>
                  </a:moveTo>
                  <a:cubicBezTo>
                    <a:pt x="335329" y="384345"/>
                    <a:pt x="273292" y="405230"/>
                    <a:pt x="209512" y="405107"/>
                  </a:cubicBezTo>
                  <a:cubicBezTo>
                    <a:pt x="180448" y="405460"/>
                    <a:pt x="151553" y="400604"/>
                    <a:pt x="124205" y="390768"/>
                  </a:cubicBezTo>
                  <a:cubicBezTo>
                    <a:pt x="99540" y="381869"/>
                    <a:pt x="76984" y="367996"/>
                    <a:pt x="57933" y="350007"/>
                  </a:cubicBezTo>
                  <a:cubicBezTo>
                    <a:pt x="39275" y="332103"/>
                    <a:pt x="24645" y="310437"/>
                    <a:pt x="15026" y="286452"/>
                  </a:cubicBezTo>
                  <a:cubicBezTo>
                    <a:pt x="4575" y="260138"/>
                    <a:pt x="-594" y="232032"/>
                    <a:pt x="-200" y="203730"/>
                  </a:cubicBezTo>
                  <a:cubicBezTo>
                    <a:pt x="-526" y="175635"/>
                    <a:pt x="4283" y="147715"/>
                    <a:pt x="13986" y="121344"/>
                  </a:cubicBezTo>
                  <a:cubicBezTo>
                    <a:pt x="22907" y="97202"/>
                    <a:pt x="36885" y="75238"/>
                    <a:pt x="54991" y="56924"/>
                  </a:cubicBezTo>
                  <a:cubicBezTo>
                    <a:pt x="73682" y="38442"/>
                    <a:pt x="96092" y="24136"/>
                    <a:pt x="120740" y="14957"/>
                  </a:cubicBezTo>
                  <a:cubicBezTo>
                    <a:pt x="149146" y="4514"/>
                    <a:pt x="179244" y="-578"/>
                    <a:pt x="209512" y="-67"/>
                  </a:cubicBezTo>
                  <a:cubicBezTo>
                    <a:pt x="303172" y="-67"/>
                    <a:pt x="359926" y="37240"/>
                    <a:pt x="379771" y="111850"/>
                  </a:cubicBezTo>
                  <a:lnTo>
                    <a:pt x="321632" y="124280"/>
                  </a:lnTo>
                  <a:cubicBezTo>
                    <a:pt x="306631" y="76844"/>
                    <a:pt x="268573" y="53129"/>
                    <a:pt x="207447" y="53129"/>
                  </a:cubicBezTo>
                  <a:cubicBezTo>
                    <a:pt x="186472" y="52708"/>
                    <a:pt x="165610" y="56346"/>
                    <a:pt x="146018" y="63835"/>
                  </a:cubicBezTo>
                  <a:cubicBezTo>
                    <a:pt x="129189" y="70410"/>
                    <a:pt x="114097" y="80746"/>
                    <a:pt x="101897" y="94058"/>
                  </a:cubicBezTo>
                  <a:cubicBezTo>
                    <a:pt x="89826" y="107600"/>
                    <a:pt x="80803" y="123556"/>
                    <a:pt x="75420" y="140865"/>
                  </a:cubicBezTo>
                  <a:cubicBezTo>
                    <a:pt x="63372" y="181306"/>
                    <a:pt x="63670" y="224419"/>
                    <a:pt x="76287" y="264691"/>
                  </a:cubicBezTo>
                  <a:cubicBezTo>
                    <a:pt x="82063" y="282090"/>
                    <a:pt x="91502" y="298046"/>
                    <a:pt x="103972" y="311498"/>
                  </a:cubicBezTo>
                  <a:cubicBezTo>
                    <a:pt x="116223" y="324332"/>
                    <a:pt x="131259" y="334202"/>
                    <a:pt x="147925" y="340339"/>
                  </a:cubicBezTo>
                  <a:cubicBezTo>
                    <a:pt x="166768" y="347166"/>
                    <a:pt x="186709" y="350507"/>
                    <a:pt x="206756" y="350187"/>
                  </a:cubicBezTo>
                  <a:cubicBezTo>
                    <a:pt x="248577" y="350507"/>
                    <a:pt x="289548" y="338357"/>
                    <a:pt x="324411" y="315299"/>
                  </a:cubicBezTo>
                  <a:lnTo>
                    <a:pt x="324411" y="251048"/>
                  </a:lnTo>
                  <a:lnTo>
                    <a:pt x="204663" y="251048"/>
                  </a:lnTo>
                  <a:lnTo>
                    <a:pt x="204663" y="194404"/>
                  </a:lnTo>
                  <a:lnTo>
                    <a:pt x="386003" y="194404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1BAB0C0F-F4BB-4991-9F36-2F3A920F3B10}"/>
                </a:ext>
              </a:extLst>
            </p:cNvPr>
            <p:cNvSpPr/>
            <p:nvPr/>
          </p:nvSpPr>
          <p:spPr>
            <a:xfrm>
              <a:off x="6853276" y="4331994"/>
              <a:ext cx="386197" cy="392743"/>
            </a:xfrm>
            <a:custGeom>
              <a:avLst/>
              <a:gdLst>
                <a:gd name="connsiteX0" fmla="*/ 385977 w 386197"/>
                <a:gd name="connsiteY0" fmla="*/ -102 h 392743"/>
                <a:gd name="connsiteX1" fmla="*/ 222293 w 386197"/>
                <a:gd name="connsiteY1" fmla="*/ 226495 h 392743"/>
                <a:gd name="connsiteX2" fmla="*/ 222293 w 386197"/>
                <a:gd name="connsiteY2" fmla="*/ 392642 h 392743"/>
                <a:gd name="connsiteX3" fmla="*/ 157922 w 386197"/>
                <a:gd name="connsiteY3" fmla="*/ 392642 h 392743"/>
                <a:gd name="connsiteX4" fmla="*/ 157922 w 386197"/>
                <a:gd name="connsiteY4" fmla="*/ 226495 h 392743"/>
                <a:gd name="connsiteX5" fmla="*/ -221 w 386197"/>
                <a:gd name="connsiteY5" fmla="*/ -102 h 392743"/>
                <a:gd name="connsiteX6" fmla="*/ 75563 w 386197"/>
                <a:gd name="connsiteY6" fmla="*/ -102 h 392743"/>
                <a:gd name="connsiteX7" fmla="*/ 160003 w 386197"/>
                <a:gd name="connsiteY7" fmla="*/ 126665 h 392743"/>
                <a:gd name="connsiteX8" fmla="*/ 178346 w 386197"/>
                <a:gd name="connsiteY8" fmla="*/ 154647 h 392743"/>
                <a:gd name="connsiteX9" fmla="*/ 192532 w 386197"/>
                <a:gd name="connsiteY9" fmla="*/ 179862 h 392743"/>
                <a:gd name="connsiteX10" fmla="*/ 204474 w 386197"/>
                <a:gd name="connsiteY10" fmla="*/ 157578 h 392743"/>
                <a:gd name="connsiteX11" fmla="*/ 225061 w 386197"/>
                <a:gd name="connsiteY11" fmla="*/ 125975 h 392743"/>
                <a:gd name="connsiteX12" fmla="*/ 311577 w 386197"/>
                <a:gd name="connsiteY12" fmla="*/ -102 h 392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86197" h="392743">
                  <a:moveTo>
                    <a:pt x="385977" y="-102"/>
                  </a:moveTo>
                  <a:lnTo>
                    <a:pt x="222293" y="226495"/>
                  </a:lnTo>
                  <a:lnTo>
                    <a:pt x="222293" y="392642"/>
                  </a:lnTo>
                  <a:lnTo>
                    <a:pt x="157922" y="392642"/>
                  </a:lnTo>
                  <a:lnTo>
                    <a:pt x="157922" y="226495"/>
                  </a:lnTo>
                  <a:lnTo>
                    <a:pt x="-221" y="-102"/>
                  </a:lnTo>
                  <a:lnTo>
                    <a:pt x="75563" y="-102"/>
                  </a:lnTo>
                  <a:lnTo>
                    <a:pt x="160003" y="126665"/>
                  </a:lnTo>
                  <a:cubicBezTo>
                    <a:pt x="166691" y="136569"/>
                    <a:pt x="172806" y="145894"/>
                    <a:pt x="178346" y="154647"/>
                  </a:cubicBezTo>
                  <a:cubicBezTo>
                    <a:pt x="183538" y="162782"/>
                    <a:pt x="188274" y="171204"/>
                    <a:pt x="192532" y="179862"/>
                  </a:cubicBezTo>
                  <a:cubicBezTo>
                    <a:pt x="196053" y="172198"/>
                    <a:pt x="200041" y="164759"/>
                    <a:pt x="204474" y="157578"/>
                  </a:cubicBezTo>
                  <a:cubicBezTo>
                    <a:pt x="209429" y="149409"/>
                    <a:pt x="216291" y="138876"/>
                    <a:pt x="225061" y="125975"/>
                  </a:cubicBezTo>
                  <a:lnTo>
                    <a:pt x="311577" y="-102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2C8E0860-FA8E-4BF7-93EB-374FB6C1AB5F}"/>
                </a:ext>
              </a:extLst>
            </p:cNvPr>
            <p:cNvSpPr/>
            <p:nvPr/>
          </p:nvSpPr>
          <p:spPr>
            <a:xfrm>
              <a:off x="5142000" y="3161420"/>
              <a:ext cx="418119" cy="533811"/>
            </a:xfrm>
            <a:custGeom>
              <a:avLst/>
              <a:gdLst>
                <a:gd name="connsiteX0" fmla="*/ 94772 w 418119"/>
                <a:gd name="connsiteY0" fmla="*/ 300779 h 533811"/>
                <a:gd name="connsiteX1" fmla="*/ 94772 w 418119"/>
                <a:gd name="connsiteY1" fmla="*/ 533709 h 533811"/>
                <a:gd name="connsiteX2" fmla="*/ -221 w 418119"/>
                <a:gd name="connsiteY2" fmla="*/ 533709 h 533811"/>
                <a:gd name="connsiteX3" fmla="*/ -221 w 418119"/>
                <a:gd name="connsiteY3" fmla="*/ -102 h 533811"/>
                <a:gd name="connsiteX4" fmla="*/ 94772 w 418119"/>
                <a:gd name="connsiteY4" fmla="*/ -102 h 533811"/>
                <a:gd name="connsiteX5" fmla="*/ 94772 w 418119"/>
                <a:gd name="connsiteY5" fmla="*/ 217175 h 533811"/>
                <a:gd name="connsiteX6" fmla="*/ 322911 w 418119"/>
                <a:gd name="connsiteY6" fmla="*/ 217175 h 533811"/>
                <a:gd name="connsiteX7" fmla="*/ 322911 w 418119"/>
                <a:gd name="connsiteY7" fmla="*/ -102 h 533811"/>
                <a:gd name="connsiteX8" fmla="*/ 417898 w 418119"/>
                <a:gd name="connsiteY8" fmla="*/ -102 h 533811"/>
                <a:gd name="connsiteX9" fmla="*/ 417898 w 418119"/>
                <a:gd name="connsiteY9" fmla="*/ 533709 h 533811"/>
                <a:gd name="connsiteX10" fmla="*/ 322911 w 418119"/>
                <a:gd name="connsiteY10" fmla="*/ 533709 h 533811"/>
                <a:gd name="connsiteX11" fmla="*/ 322911 w 418119"/>
                <a:gd name="connsiteY11" fmla="*/ 300779 h 533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8119" h="533811">
                  <a:moveTo>
                    <a:pt x="94772" y="300779"/>
                  </a:moveTo>
                  <a:lnTo>
                    <a:pt x="94772" y="533709"/>
                  </a:lnTo>
                  <a:lnTo>
                    <a:pt x="-221" y="533709"/>
                  </a:lnTo>
                  <a:lnTo>
                    <a:pt x="-221" y="-102"/>
                  </a:lnTo>
                  <a:lnTo>
                    <a:pt x="94772" y="-102"/>
                  </a:lnTo>
                  <a:lnTo>
                    <a:pt x="94772" y="217175"/>
                  </a:lnTo>
                  <a:lnTo>
                    <a:pt x="322911" y="217175"/>
                  </a:lnTo>
                  <a:lnTo>
                    <a:pt x="322911" y="-102"/>
                  </a:lnTo>
                  <a:lnTo>
                    <a:pt x="417898" y="-102"/>
                  </a:lnTo>
                  <a:lnTo>
                    <a:pt x="417898" y="533709"/>
                  </a:lnTo>
                  <a:lnTo>
                    <a:pt x="322911" y="533709"/>
                  </a:lnTo>
                  <a:lnTo>
                    <a:pt x="322911" y="300779"/>
                  </a:ln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31296CBA-3CA9-4FAD-A2F8-7E4F89FD1718}"/>
                </a:ext>
              </a:extLst>
            </p:cNvPr>
            <p:cNvSpPr/>
            <p:nvPr/>
          </p:nvSpPr>
          <p:spPr>
            <a:xfrm>
              <a:off x="5596005" y="3303263"/>
              <a:ext cx="389708" cy="526361"/>
            </a:xfrm>
            <a:custGeom>
              <a:avLst/>
              <a:gdLst>
                <a:gd name="connsiteX0" fmla="*/ 86571 w 389708"/>
                <a:gd name="connsiteY0" fmla="*/ 526259 h 526361"/>
                <a:gd name="connsiteX1" fmla="*/ 147882 w 389708"/>
                <a:gd name="connsiteY1" fmla="*/ 381407 h 526361"/>
                <a:gd name="connsiteX2" fmla="*/ -221 w 389708"/>
                <a:gd name="connsiteY2" fmla="*/ -102 h 526361"/>
                <a:gd name="connsiteX3" fmla="*/ 100014 w 389708"/>
                <a:gd name="connsiteY3" fmla="*/ -102 h 526361"/>
                <a:gd name="connsiteX4" fmla="*/ 195755 w 389708"/>
                <a:gd name="connsiteY4" fmla="*/ 279871 h 526361"/>
                <a:gd name="connsiteX5" fmla="*/ 291501 w 389708"/>
                <a:gd name="connsiteY5" fmla="*/ -102 h 526361"/>
                <a:gd name="connsiteX6" fmla="*/ 389487 w 389708"/>
                <a:gd name="connsiteY6" fmla="*/ -102 h 526361"/>
                <a:gd name="connsiteX7" fmla="*/ 179302 w 389708"/>
                <a:gd name="connsiteY7" fmla="*/ 526247 h 5263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9708" h="526361">
                  <a:moveTo>
                    <a:pt x="86571" y="526259"/>
                  </a:moveTo>
                  <a:lnTo>
                    <a:pt x="147882" y="381407"/>
                  </a:lnTo>
                  <a:cubicBezTo>
                    <a:pt x="103001" y="262696"/>
                    <a:pt x="48400" y="123083"/>
                    <a:pt x="-221" y="-102"/>
                  </a:cubicBezTo>
                  <a:lnTo>
                    <a:pt x="100014" y="-102"/>
                  </a:lnTo>
                  <a:cubicBezTo>
                    <a:pt x="143399" y="124577"/>
                    <a:pt x="168075" y="202970"/>
                    <a:pt x="195755" y="279871"/>
                  </a:cubicBezTo>
                  <a:cubicBezTo>
                    <a:pt x="219694" y="214912"/>
                    <a:pt x="259316" y="92474"/>
                    <a:pt x="291501" y="-102"/>
                  </a:cubicBezTo>
                  <a:lnTo>
                    <a:pt x="389487" y="-102"/>
                  </a:lnTo>
                  <a:cubicBezTo>
                    <a:pt x="320672" y="173107"/>
                    <a:pt x="252606" y="347064"/>
                    <a:pt x="179302" y="526247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19716990-9992-4A0C-BE51-F3628B108726}"/>
                </a:ext>
              </a:extLst>
            </p:cNvPr>
            <p:cNvSpPr/>
            <p:nvPr/>
          </p:nvSpPr>
          <p:spPr>
            <a:xfrm>
              <a:off x="5975257" y="3161420"/>
              <a:ext cx="402414" cy="542771"/>
            </a:xfrm>
            <a:custGeom>
              <a:avLst/>
              <a:gdLst>
                <a:gd name="connsiteX0" fmla="*/ 316172 w 402414"/>
                <a:gd name="connsiteY0" fmla="*/ 533709 h 542771"/>
                <a:gd name="connsiteX1" fmla="*/ 316172 w 402414"/>
                <a:gd name="connsiteY1" fmla="*/ 478463 h 542771"/>
                <a:gd name="connsiteX2" fmla="*/ 180793 w 402414"/>
                <a:gd name="connsiteY2" fmla="*/ 542670 h 542771"/>
                <a:gd name="connsiteX3" fmla="*/ -221 w 402414"/>
                <a:gd name="connsiteY3" fmla="*/ 336621 h 542771"/>
                <a:gd name="connsiteX4" fmla="*/ 183031 w 402414"/>
                <a:gd name="connsiteY4" fmla="*/ 129068 h 542771"/>
                <a:gd name="connsiteX5" fmla="*/ 311689 w 402414"/>
                <a:gd name="connsiteY5" fmla="*/ 191781 h 542771"/>
                <a:gd name="connsiteX6" fmla="*/ 310941 w 402414"/>
                <a:gd name="connsiteY6" fmla="*/ 114140 h 542771"/>
                <a:gd name="connsiteX7" fmla="*/ 310941 w 402414"/>
                <a:gd name="connsiteY7" fmla="*/ -102 h 542771"/>
                <a:gd name="connsiteX8" fmla="*/ 402193 w 402414"/>
                <a:gd name="connsiteY8" fmla="*/ -102 h 542771"/>
                <a:gd name="connsiteX9" fmla="*/ 402193 w 402414"/>
                <a:gd name="connsiteY9" fmla="*/ 533709 h 542771"/>
                <a:gd name="connsiteX10" fmla="*/ 93275 w 402414"/>
                <a:gd name="connsiteY10" fmla="*/ 338103 h 542771"/>
                <a:gd name="connsiteX11" fmla="*/ 201734 w 402414"/>
                <a:gd name="connsiteY11" fmla="*/ 468756 h 542771"/>
                <a:gd name="connsiteX12" fmla="*/ 315424 w 402414"/>
                <a:gd name="connsiteY12" fmla="*/ 335133 h 542771"/>
                <a:gd name="connsiteX13" fmla="*/ 202482 w 402414"/>
                <a:gd name="connsiteY13" fmla="*/ 204481 h 542771"/>
                <a:gd name="connsiteX14" fmla="*/ 93275 w 402414"/>
                <a:gd name="connsiteY14" fmla="*/ 338103 h 542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402414" h="542771">
                  <a:moveTo>
                    <a:pt x="316172" y="533709"/>
                  </a:moveTo>
                  <a:lnTo>
                    <a:pt x="316172" y="478463"/>
                  </a:lnTo>
                  <a:cubicBezTo>
                    <a:pt x="293735" y="512807"/>
                    <a:pt x="248111" y="542670"/>
                    <a:pt x="180793" y="542670"/>
                  </a:cubicBezTo>
                  <a:cubicBezTo>
                    <a:pt x="73825" y="542670"/>
                    <a:pt x="-221" y="459054"/>
                    <a:pt x="-221" y="336621"/>
                  </a:cubicBezTo>
                  <a:cubicBezTo>
                    <a:pt x="-221" y="217916"/>
                    <a:pt x="70838" y="129068"/>
                    <a:pt x="183031" y="129068"/>
                  </a:cubicBezTo>
                  <a:cubicBezTo>
                    <a:pt x="245113" y="129068"/>
                    <a:pt x="290000" y="159678"/>
                    <a:pt x="311689" y="191781"/>
                  </a:cubicBezTo>
                  <a:cubicBezTo>
                    <a:pt x="310941" y="164158"/>
                    <a:pt x="310941" y="141016"/>
                    <a:pt x="310941" y="114140"/>
                  </a:cubicBezTo>
                  <a:lnTo>
                    <a:pt x="310941" y="-102"/>
                  </a:lnTo>
                  <a:lnTo>
                    <a:pt x="402193" y="-102"/>
                  </a:lnTo>
                  <a:lnTo>
                    <a:pt x="402193" y="533709"/>
                  </a:lnTo>
                  <a:close/>
                  <a:moveTo>
                    <a:pt x="93275" y="338103"/>
                  </a:moveTo>
                  <a:cubicBezTo>
                    <a:pt x="93275" y="412775"/>
                    <a:pt x="133668" y="468756"/>
                    <a:pt x="201734" y="468756"/>
                  </a:cubicBezTo>
                  <a:cubicBezTo>
                    <a:pt x="272793" y="468756"/>
                    <a:pt x="315424" y="412017"/>
                    <a:pt x="315424" y="335133"/>
                  </a:cubicBezTo>
                  <a:cubicBezTo>
                    <a:pt x="315424" y="259726"/>
                    <a:pt x="268305" y="204481"/>
                    <a:pt x="202482" y="204481"/>
                  </a:cubicBezTo>
                  <a:cubicBezTo>
                    <a:pt x="133668" y="204464"/>
                    <a:pt x="93275" y="263443"/>
                    <a:pt x="93275" y="338103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B48B993C-B567-4B58-9D2D-8AB00CAF7CC9}"/>
                </a:ext>
              </a:extLst>
            </p:cNvPr>
            <p:cNvSpPr/>
            <p:nvPr/>
          </p:nvSpPr>
          <p:spPr>
            <a:xfrm>
              <a:off x="6436018" y="3293564"/>
              <a:ext cx="201955" cy="401644"/>
            </a:xfrm>
            <a:custGeom>
              <a:avLst/>
              <a:gdLst>
                <a:gd name="connsiteX0" fmla="*/ 85794 w 201955"/>
                <a:gd name="connsiteY0" fmla="*/ 8860 h 401644"/>
                <a:gd name="connsiteX1" fmla="*/ 85794 w 201955"/>
                <a:gd name="connsiteY1" fmla="*/ 35736 h 401644"/>
                <a:gd name="connsiteX2" fmla="*/ 85052 w 201955"/>
                <a:gd name="connsiteY2" fmla="*/ 61866 h 401644"/>
                <a:gd name="connsiteX3" fmla="*/ 180044 w 201955"/>
                <a:gd name="connsiteY3" fmla="*/ -100 h 401644"/>
                <a:gd name="connsiteX4" fmla="*/ 201734 w 201955"/>
                <a:gd name="connsiteY4" fmla="*/ 1393 h 401644"/>
                <a:gd name="connsiteX5" fmla="*/ 201734 w 201955"/>
                <a:gd name="connsiteY5" fmla="*/ 88001 h 401644"/>
                <a:gd name="connsiteX6" fmla="*/ 175556 w 201955"/>
                <a:gd name="connsiteY6" fmla="*/ 85014 h 401644"/>
                <a:gd name="connsiteX7" fmla="*/ 91779 w 201955"/>
                <a:gd name="connsiteY7" fmla="*/ 216391 h 401644"/>
                <a:gd name="connsiteX8" fmla="*/ 91779 w 201955"/>
                <a:gd name="connsiteY8" fmla="*/ 401543 h 401644"/>
                <a:gd name="connsiteX9" fmla="*/ 527 w 201955"/>
                <a:gd name="connsiteY9" fmla="*/ 401543 h 401644"/>
                <a:gd name="connsiteX10" fmla="*/ 527 w 201955"/>
                <a:gd name="connsiteY10" fmla="*/ 79787 h 401644"/>
                <a:gd name="connsiteX11" fmla="*/ -221 w 201955"/>
                <a:gd name="connsiteY11" fmla="*/ 8860 h 401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1955" h="401644">
                  <a:moveTo>
                    <a:pt x="85794" y="8860"/>
                  </a:moveTo>
                  <a:lnTo>
                    <a:pt x="85794" y="35736"/>
                  </a:lnTo>
                  <a:cubicBezTo>
                    <a:pt x="85794" y="44720"/>
                    <a:pt x="85794" y="53652"/>
                    <a:pt x="85052" y="61866"/>
                  </a:cubicBezTo>
                  <a:cubicBezTo>
                    <a:pt x="98512" y="22301"/>
                    <a:pt x="135164" y="-100"/>
                    <a:pt x="180044" y="-100"/>
                  </a:cubicBezTo>
                  <a:cubicBezTo>
                    <a:pt x="187301" y="-140"/>
                    <a:pt x="194551" y="360"/>
                    <a:pt x="201734" y="1393"/>
                  </a:cubicBezTo>
                  <a:lnTo>
                    <a:pt x="201734" y="88001"/>
                  </a:lnTo>
                  <a:cubicBezTo>
                    <a:pt x="193195" y="85772"/>
                    <a:pt x="184381" y="84767"/>
                    <a:pt x="175556" y="85014"/>
                  </a:cubicBezTo>
                  <a:cubicBezTo>
                    <a:pt x="104497" y="85014"/>
                    <a:pt x="91779" y="135779"/>
                    <a:pt x="91779" y="216391"/>
                  </a:cubicBezTo>
                  <a:lnTo>
                    <a:pt x="91779" y="401543"/>
                  </a:lnTo>
                  <a:lnTo>
                    <a:pt x="527" y="401543"/>
                  </a:lnTo>
                  <a:lnTo>
                    <a:pt x="527" y="79787"/>
                  </a:lnTo>
                  <a:cubicBezTo>
                    <a:pt x="527" y="55151"/>
                    <a:pt x="527" y="32750"/>
                    <a:pt x="-221" y="8860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BAA0482B-F873-4771-A3BB-96F021D95D57}"/>
                </a:ext>
              </a:extLst>
            </p:cNvPr>
            <p:cNvSpPr/>
            <p:nvPr/>
          </p:nvSpPr>
          <p:spPr>
            <a:xfrm>
              <a:off x="6644701" y="3289833"/>
              <a:ext cx="410643" cy="417346"/>
            </a:xfrm>
            <a:custGeom>
              <a:avLst/>
              <a:gdLst>
                <a:gd name="connsiteX0" fmla="*/ 410422 w 410643"/>
                <a:gd name="connsiteY0" fmla="*/ 209691 h 417346"/>
                <a:gd name="connsiteX1" fmla="*/ 203231 w 410643"/>
                <a:gd name="connsiteY1" fmla="*/ 417244 h 417346"/>
                <a:gd name="connsiteX2" fmla="*/ -221 w 410643"/>
                <a:gd name="connsiteY2" fmla="*/ 209691 h 417346"/>
                <a:gd name="connsiteX3" fmla="*/ 204727 w 410643"/>
                <a:gd name="connsiteY3" fmla="*/ -102 h 417346"/>
                <a:gd name="connsiteX4" fmla="*/ 410422 w 410643"/>
                <a:gd name="connsiteY4" fmla="*/ 209691 h 417346"/>
                <a:gd name="connsiteX5" fmla="*/ 93275 w 410643"/>
                <a:gd name="connsiteY5" fmla="*/ 208944 h 417346"/>
                <a:gd name="connsiteX6" fmla="*/ 203231 w 410643"/>
                <a:gd name="connsiteY6" fmla="*/ 341096 h 417346"/>
                <a:gd name="connsiteX7" fmla="*/ 313928 w 410643"/>
                <a:gd name="connsiteY7" fmla="*/ 208944 h 417346"/>
                <a:gd name="connsiteX8" fmla="*/ 203231 w 410643"/>
                <a:gd name="connsiteY8" fmla="*/ 76051 h 417346"/>
                <a:gd name="connsiteX9" fmla="*/ 93275 w 410643"/>
                <a:gd name="connsiteY9" fmla="*/ 208944 h 417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0643" h="417346">
                  <a:moveTo>
                    <a:pt x="410422" y="209691"/>
                  </a:moveTo>
                  <a:cubicBezTo>
                    <a:pt x="410422" y="330642"/>
                    <a:pt x="330386" y="417244"/>
                    <a:pt x="203231" y="417244"/>
                  </a:cubicBezTo>
                  <a:cubicBezTo>
                    <a:pt x="76817" y="417244"/>
                    <a:pt x="-221" y="329895"/>
                    <a:pt x="-221" y="209691"/>
                  </a:cubicBezTo>
                  <a:cubicBezTo>
                    <a:pt x="-221" y="86505"/>
                    <a:pt x="81306" y="-102"/>
                    <a:pt x="204727" y="-102"/>
                  </a:cubicBezTo>
                  <a:cubicBezTo>
                    <a:pt x="328890" y="-102"/>
                    <a:pt x="410422" y="86505"/>
                    <a:pt x="410422" y="209691"/>
                  </a:cubicBezTo>
                  <a:close/>
                  <a:moveTo>
                    <a:pt x="93275" y="208944"/>
                  </a:moveTo>
                  <a:cubicBezTo>
                    <a:pt x="93275" y="288831"/>
                    <a:pt x="134416" y="341096"/>
                    <a:pt x="203231" y="341096"/>
                  </a:cubicBezTo>
                  <a:cubicBezTo>
                    <a:pt x="272793" y="341096"/>
                    <a:pt x="313928" y="288831"/>
                    <a:pt x="313928" y="208944"/>
                  </a:cubicBezTo>
                  <a:cubicBezTo>
                    <a:pt x="313928" y="131297"/>
                    <a:pt x="272045" y="76051"/>
                    <a:pt x="203231" y="76051"/>
                  </a:cubicBezTo>
                  <a:cubicBezTo>
                    <a:pt x="135158" y="76051"/>
                    <a:pt x="93275" y="131297"/>
                    <a:pt x="93275" y="208944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1E72EE61-5149-4B7C-845E-3522B5939AFF}"/>
                </a:ext>
              </a:extLst>
            </p:cNvPr>
            <p:cNvSpPr/>
            <p:nvPr/>
          </p:nvSpPr>
          <p:spPr>
            <a:xfrm>
              <a:off x="5596889" y="1919841"/>
              <a:ext cx="1003583" cy="1001720"/>
            </a:xfrm>
            <a:custGeom>
              <a:avLst/>
              <a:gdLst>
                <a:gd name="connsiteX0" fmla="*/ 501562 w 1003583"/>
                <a:gd name="connsiteY0" fmla="*/ -102 h 1001720"/>
                <a:gd name="connsiteX1" fmla="*/ 25445 w 1003583"/>
                <a:gd name="connsiteY1" fmla="*/ -102 h 1001720"/>
                <a:gd name="connsiteX2" fmla="*/ 156 w 1003583"/>
                <a:gd name="connsiteY2" fmla="*/ 25898 h 1001720"/>
                <a:gd name="connsiteX3" fmla="*/ 25445 w 1003583"/>
                <a:gd name="connsiteY3" fmla="*/ 51140 h 1001720"/>
                <a:gd name="connsiteX4" fmla="*/ 474310 w 1003583"/>
                <a:gd name="connsiteY4" fmla="*/ 502347 h 1001720"/>
                <a:gd name="connsiteX5" fmla="*/ 25445 w 1003583"/>
                <a:gd name="connsiteY5" fmla="*/ 950381 h 1001720"/>
                <a:gd name="connsiteX6" fmla="*/ -221 w 1003583"/>
                <a:gd name="connsiteY6" fmla="*/ 976000 h 1001720"/>
                <a:gd name="connsiteX7" fmla="*/ 25445 w 1003583"/>
                <a:gd name="connsiteY7" fmla="*/ 1001618 h 1001720"/>
                <a:gd name="connsiteX8" fmla="*/ 501568 w 1003583"/>
                <a:gd name="connsiteY8" fmla="*/ 1001618 h 1001720"/>
                <a:gd name="connsiteX9" fmla="*/ 1003363 w 1003583"/>
                <a:gd name="connsiteY9" fmla="*/ 500758 h 1001720"/>
                <a:gd name="connsiteX10" fmla="*/ 501568 w 1003583"/>
                <a:gd name="connsiteY10" fmla="*/ -102 h 1001720"/>
                <a:gd name="connsiteX11" fmla="*/ 417110 w 1003583"/>
                <a:gd name="connsiteY11" fmla="*/ 944161 h 1001720"/>
                <a:gd name="connsiteX12" fmla="*/ 628707 w 1003583"/>
                <a:gd name="connsiteY12" fmla="*/ 268558 h 1001720"/>
                <a:gd name="connsiteX13" fmla="*/ 417110 w 1003583"/>
                <a:gd name="connsiteY13" fmla="*/ 57355 h 1001720"/>
                <a:gd name="connsiteX14" fmla="*/ 787176 w 1003583"/>
                <a:gd name="connsiteY14" fmla="*/ 574784 h 1001720"/>
                <a:gd name="connsiteX15" fmla="*/ 417110 w 1003583"/>
                <a:gd name="connsiteY15" fmla="*/ 944161 h 1001720"/>
                <a:gd name="connsiteX16" fmla="*/ 527234 w 1003583"/>
                <a:gd name="connsiteY16" fmla="*/ 500758 h 1001720"/>
                <a:gd name="connsiteX17" fmla="*/ 258624 w 1003583"/>
                <a:gd name="connsiteY17" fmla="*/ 57395 h 1001720"/>
                <a:gd name="connsiteX18" fmla="*/ 628414 w 1003583"/>
                <a:gd name="connsiteY18" fmla="*/ 575020 h 1001720"/>
                <a:gd name="connsiteX19" fmla="*/ 258624 w 1003583"/>
                <a:gd name="connsiteY19" fmla="*/ 944121 h 1001720"/>
                <a:gd name="connsiteX20" fmla="*/ 527234 w 1003583"/>
                <a:gd name="connsiteY20" fmla="*/ 500758 h 1001720"/>
                <a:gd name="connsiteX21" fmla="*/ 575816 w 1003583"/>
                <a:gd name="connsiteY21" fmla="*/ 944161 h 1001720"/>
                <a:gd name="connsiteX22" fmla="*/ 787424 w 1003583"/>
                <a:gd name="connsiteY22" fmla="*/ 268569 h 1001720"/>
                <a:gd name="connsiteX23" fmla="*/ 575816 w 1003583"/>
                <a:gd name="connsiteY23" fmla="*/ 57355 h 1001720"/>
                <a:gd name="connsiteX24" fmla="*/ 945882 w 1003583"/>
                <a:gd name="connsiteY24" fmla="*/ 574784 h 1001720"/>
                <a:gd name="connsiteX25" fmla="*/ 575816 w 1003583"/>
                <a:gd name="connsiteY25" fmla="*/ 944161 h 1001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003583" h="1001720">
                  <a:moveTo>
                    <a:pt x="501562" y="-102"/>
                  </a:moveTo>
                  <a:lnTo>
                    <a:pt x="25445" y="-102"/>
                  </a:lnTo>
                  <a:cubicBezTo>
                    <a:pt x="11270" y="105"/>
                    <a:pt x="-53" y="11750"/>
                    <a:pt x="156" y="25898"/>
                  </a:cubicBezTo>
                  <a:cubicBezTo>
                    <a:pt x="364" y="39754"/>
                    <a:pt x="11563" y="50933"/>
                    <a:pt x="25445" y="51140"/>
                  </a:cubicBezTo>
                  <a:cubicBezTo>
                    <a:pt x="274227" y="52016"/>
                    <a:pt x="475193" y="254033"/>
                    <a:pt x="474310" y="502347"/>
                  </a:cubicBezTo>
                  <a:cubicBezTo>
                    <a:pt x="473438" y="749431"/>
                    <a:pt x="272984" y="949506"/>
                    <a:pt x="25445" y="950381"/>
                  </a:cubicBezTo>
                  <a:cubicBezTo>
                    <a:pt x="11270" y="950381"/>
                    <a:pt x="-221" y="961852"/>
                    <a:pt x="-221" y="976000"/>
                  </a:cubicBezTo>
                  <a:cubicBezTo>
                    <a:pt x="-221" y="990148"/>
                    <a:pt x="11270" y="1001618"/>
                    <a:pt x="25445" y="1001618"/>
                  </a:cubicBezTo>
                  <a:lnTo>
                    <a:pt x="501568" y="1001618"/>
                  </a:lnTo>
                  <a:cubicBezTo>
                    <a:pt x="778700" y="1001618"/>
                    <a:pt x="1003363" y="777374"/>
                    <a:pt x="1003363" y="500758"/>
                  </a:cubicBezTo>
                  <a:cubicBezTo>
                    <a:pt x="1003363" y="224142"/>
                    <a:pt x="778700" y="-102"/>
                    <a:pt x="501568" y="-102"/>
                  </a:cubicBezTo>
                  <a:close/>
                  <a:moveTo>
                    <a:pt x="417110" y="944161"/>
                  </a:moveTo>
                  <a:cubicBezTo>
                    <a:pt x="662450" y="815917"/>
                    <a:pt x="757185" y="513441"/>
                    <a:pt x="628707" y="268558"/>
                  </a:cubicBezTo>
                  <a:cubicBezTo>
                    <a:pt x="581351" y="178301"/>
                    <a:pt x="507536" y="104617"/>
                    <a:pt x="417110" y="57355"/>
                  </a:cubicBezTo>
                  <a:cubicBezTo>
                    <a:pt x="662450" y="98239"/>
                    <a:pt x="828137" y="329895"/>
                    <a:pt x="787176" y="574784"/>
                  </a:cubicBezTo>
                  <a:cubicBezTo>
                    <a:pt x="755503" y="764152"/>
                    <a:pt x="606837" y="912546"/>
                    <a:pt x="417110" y="944161"/>
                  </a:cubicBezTo>
                  <a:close/>
                  <a:moveTo>
                    <a:pt x="527234" y="500758"/>
                  </a:moveTo>
                  <a:cubicBezTo>
                    <a:pt x="527088" y="314663"/>
                    <a:pt x="423669" y="143957"/>
                    <a:pt x="258624" y="57395"/>
                  </a:cubicBezTo>
                  <a:cubicBezTo>
                    <a:pt x="503942" y="98408"/>
                    <a:pt x="669504" y="330153"/>
                    <a:pt x="628414" y="575020"/>
                  </a:cubicBezTo>
                  <a:cubicBezTo>
                    <a:pt x="596673" y="764197"/>
                    <a:pt x="448160" y="912434"/>
                    <a:pt x="258624" y="944121"/>
                  </a:cubicBezTo>
                  <a:cubicBezTo>
                    <a:pt x="423669" y="857559"/>
                    <a:pt x="527088" y="686853"/>
                    <a:pt x="527234" y="500758"/>
                  </a:cubicBezTo>
                  <a:close/>
                  <a:moveTo>
                    <a:pt x="575816" y="944161"/>
                  </a:moveTo>
                  <a:cubicBezTo>
                    <a:pt x="821156" y="815928"/>
                    <a:pt x="915896" y="513452"/>
                    <a:pt x="787424" y="268569"/>
                  </a:cubicBezTo>
                  <a:cubicBezTo>
                    <a:pt x="740068" y="178306"/>
                    <a:pt x="666247" y="104623"/>
                    <a:pt x="575816" y="57355"/>
                  </a:cubicBezTo>
                  <a:cubicBezTo>
                    <a:pt x="821156" y="98239"/>
                    <a:pt x="986842" y="329895"/>
                    <a:pt x="945882" y="574784"/>
                  </a:cubicBezTo>
                  <a:cubicBezTo>
                    <a:pt x="914208" y="764152"/>
                    <a:pt x="765543" y="912546"/>
                    <a:pt x="575816" y="944161"/>
                  </a:cubicBezTo>
                  <a:close/>
                </a:path>
              </a:pathLst>
            </a:custGeom>
            <a:solidFill>
              <a:srgbClr val="FFFFFF"/>
            </a:solidFill>
            <a:ln w="561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6630358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645808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ux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9810614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nerg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023143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rimar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5534744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oll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17810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tteri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367916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xtru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74637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274980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250679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691774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959929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87666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7068129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3691352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1086646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4873399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enewable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6815195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C93C7F9E-972C-48C9-9FE1-5AE34014CE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9252520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38"/>
            <a:ext cx="536416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xmlns="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27651326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5" y="1989138"/>
            <a:ext cx="3384550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xmlns="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xmlns="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3" y="1989138"/>
            <a:ext cx="3421062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5377477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57">
          <p15:clr>
            <a:srgbClr val="FBAE40"/>
          </p15:clr>
        </p15:guide>
        <p15:guide id="2" pos="2774">
          <p15:clr>
            <a:srgbClr val="FBAE40"/>
          </p15:clr>
        </p15:guide>
        <p15:guide id="3" pos="4906">
          <p15:clr>
            <a:srgbClr val="FBAE40"/>
          </p15:clr>
        </p15:guide>
        <p15:guide id="4" pos="5223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xmlns="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914406290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2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1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3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xmlns="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6165850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718237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xmlns="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xmlns="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66955464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4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5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xmlns="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xmlns="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4" y="6165850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46651367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8CF44C50-B85B-4B46-BE46-2E5252CBA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55724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xmlns="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550780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9507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candinavian herit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5841667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047183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662088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xmlns="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1099695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B78FF7BB-52BA-46DA-B9EB-95E8C58644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1438" y="1931307"/>
            <a:ext cx="1889125" cy="2555875"/>
            <a:chOff x="3245" y="1308"/>
            <a:chExt cx="1190" cy="1610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C32C34FE-B266-41B3-99FD-10A6A3BB6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5" y="2082"/>
              <a:ext cx="261" cy="332"/>
            </a:xfrm>
            <a:custGeom>
              <a:avLst/>
              <a:gdLst>
                <a:gd name="T0" fmla="*/ 59 w 261"/>
                <a:gd name="T1" fmla="*/ 186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6 h 332"/>
                <a:gd name="T24" fmla="*/ 59 w 261"/>
                <a:gd name="T25" fmla="*/ 186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6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6"/>
                  </a:lnTo>
                  <a:lnTo>
                    <a:pt x="59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44AA8273-7C2A-4952-AF3B-2788676D6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9" y="2170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xmlns="" id="{4108DB83-089F-4451-A0B4-8FA566C499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4" y="2082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xmlns="" id="{0C10B8BB-C7A6-43F7-A731-7F4C2FD63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1" y="2163"/>
              <a:ext cx="125" cy="251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xmlns="" id="{41A95C0A-7801-459A-82FF-F3100804E8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81" y="2161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xmlns="" id="{EA367DC1-733B-4ED9-B170-8E5AEA94D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29" y="1308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xmlns="" id="{E2240389-001B-45C7-85B9-467EB92E4A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47" y="2809"/>
              <a:ext cx="1188" cy="109"/>
            </a:xfrm>
            <a:custGeom>
              <a:avLst/>
              <a:gdLst>
                <a:gd name="T0" fmla="*/ 652 w 687"/>
                <a:gd name="T1" fmla="*/ 24 h 63"/>
                <a:gd name="T2" fmla="*/ 662 w 687"/>
                <a:gd name="T3" fmla="*/ 30 h 63"/>
                <a:gd name="T4" fmla="*/ 673 w 687"/>
                <a:gd name="T5" fmla="*/ 62 h 63"/>
                <a:gd name="T6" fmla="*/ 668 w 687"/>
                <a:gd name="T7" fmla="*/ 18 h 63"/>
                <a:gd name="T8" fmla="*/ 637 w 687"/>
                <a:gd name="T9" fmla="*/ 17 h 63"/>
                <a:gd name="T10" fmla="*/ 617 w 687"/>
                <a:gd name="T11" fmla="*/ 17 h 63"/>
                <a:gd name="T12" fmla="*/ 588 w 687"/>
                <a:gd name="T13" fmla="*/ 56 h 63"/>
                <a:gd name="T14" fmla="*/ 575 w 687"/>
                <a:gd name="T15" fmla="*/ 43 h 63"/>
                <a:gd name="T16" fmla="*/ 559 w 687"/>
                <a:gd name="T17" fmla="*/ 62 h 63"/>
                <a:gd name="T18" fmla="*/ 559 w 687"/>
                <a:gd name="T19" fmla="*/ 62 h 63"/>
                <a:gd name="T20" fmla="*/ 563 w 687"/>
                <a:gd name="T21" fmla="*/ 9 h 63"/>
                <a:gd name="T22" fmla="*/ 537 w 687"/>
                <a:gd name="T23" fmla="*/ 24 h 63"/>
                <a:gd name="T24" fmla="*/ 546 w 687"/>
                <a:gd name="T25" fmla="*/ 27 h 63"/>
                <a:gd name="T26" fmla="*/ 513 w 687"/>
                <a:gd name="T27" fmla="*/ 17 h 63"/>
                <a:gd name="T28" fmla="*/ 493 w 687"/>
                <a:gd name="T29" fmla="*/ 17 h 63"/>
                <a:gd name="T30" fmla="*/ 504 w 687"/>
                <a:gd name="T31" fmla="*/ 0 h 63"/>
                <a:gd name="T32" fmla="*/ 424 w 687"/>
                <a:gd name="T33" fmla="*/ 41 h 63"/>
                <a:gd name="T34" fmla="*/ 444 w 687"/>
                <a:gd name="T35" fmla="*/ 32 h 63"/>
                <a:gd name="T36" fmla="*/ 466 w 687"/>
                <a:gd name="T37" fmla="*/ 22 h 63"/>
                <a:gd name="T38" fmla="*/ 478 w 687"/>
                <a:gd name="T39" fmla="*/ 33 h 63"/>
                <a:gd name="T40" fmla="*/ 449 w 687"/>
                <a:gd name="T41" fmla="*/ 18 h 63"/>
                <a:gd name="T42" fmla="*/ 412 w 687"/>
                <a:gd name="T43" fmla="*/ 62 h 63"/>
                <a:gd name="T44" fmla="*/ 397 w 687"/>
                <a:gd name="T45" fmla="*/ 36 h 63"/>
                <a:gd name="T46" fmla="*/ 373 w 687"/>
                <a:gd name="T47" fmla="*/ 51 h 63"/>
                <a:gd name="T48" fmla="*/ 369 w 687"/>
                <a:gd name="T49" fmla="*/ 60 h 63"/>
                <a:gd name="T50" fmla="*/ 364 w 687"/>
                <a:gd name="T51" fmla="*/ 0 h 63"/>
                <a:gd name="T52" fmla="*/ 319 w 687"/>
                <a:gd name="T53" fmla="*/ 55 h 63"/>
                <a:gd name="T54" fmla="*/ 319 w 687"/>
                <a:gd name="T55" fmla="*/ 41 h 63"/>
                <a:gd name="T56" fmla="*/ 333 w 687"/>
                <a:gd name="T57" fmla="*/ 56 h 63"/>
                <a:gd name="T58" fmla="*/ 308 w 687"/>
                <a:gd name="T59" fmla="*/ 20 h 63"/>
                <a:gd name="T60" fmla="*/ 330 w 687"/>
                <a:gd name="T61" fmla="*/ 28 h 63"/>
                <a:gd name="T62" fmla="*/ 296 w 687"/>
                <a:gd name="T63" fmla="*/ 50 h 63"/>
                <a:gd name="T64" fmla="*/ 239 w 687"/>
                <a:gd name="T65" fmla="*/ 25 h 63"/>
                <a:gd name="T66" fmla="*/ 239 w 687"/>
                <a:gd name="T67" fmla="*/ 25 h 63"/>
                <a:gd name="T68" fmla="*/ 265 w 687"/>
                <a:gd name="T69" fmla="*/ 41 h 63"/>
                <a:gd name="T70" fmla="*/ 224 w 687"/>
                <a:gd name="T71" fmla="*/ 44 h 63"/>
                <a:gd name="T72" fmla="*/ 255 w 687"/>
                <a:gd name="T73" fmla="*/ 47 h 63"/>
                <a:gd name="T74" fmla="*/ 223 w 687"/>
                <a:gd name="T75" fmla="*/ 25 h 63"/>
                <a:gd name="T76" fmla="*/ 203 w 687"/>
                <a:gd name="T77" fmla="*/ 17 h 63"/>
                <a:gd name="T78" fmla="*/ 155 w 687"/>
                <a:gd name="T79" fmla="*/ 55 h 63"/>
                <a:gd name="T80" fmla="*/ 178 w 687"/>
                <a:gd name="T81" fmla="*/ 39 h 63"/>
                <a:gd name="T82" fmla="*/ 186 w 687"/>
                <a:gd name="T83" fmla="*/ 36 h 63"/>
                <a:gd name="T84" fmla="*/ 158 w 687"/>
                <a:gd name="T85" fmla="*/ 30 h 63"/>
                <a:gd name="T86" fmla="*/ 169 w 687"/>
                <a:gd name="T87" fmla="*/ 35 h 63"/>
                <a:gd name="T88" fmla="*/ 159 w 687"/>
                <a:gd name="T89" fmla="*/ 63 h 63"/>
                <a:gd name="T90" fmla="*/ 105 w 687"/>
                <a:gd name="T91" fmla="*/ 25 h 63"/>
                <a:gd name="T92" fmla="*/ 91 w 687"/>
                <a:gd name="T93" fmla="*/ 56 h 63"/>
                <a:gd name="T94" fmla="*/ 110 w 687"/>
                <a:gd name="T95" fmla="*/ 21 h 63"/>
                <a:gd name="T96" fmla="*/ 82 w 687"/>
                <a:gd name="T97" fmla="*/ 60 h 63"/>
                <a:gd name="T98" fmla="*/ 12 w 687"/>
                <a:gd name="T99" fmla="*/ 62 h 63"/>
                <a:gd name="T100" fmla="*/ 80 w 687"/>
                <a:gd name="T101" fmla="*/ 0 h 63"/>
                <a:gd name="T102" fmla="*/ 45 w 687"/>
                <a:gd name="T103" fmla="*/ 0 h 63"/>
                <a:gd name="T104" fmla="*/ 9 w 687"/>
                <a:gd name="T105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7" h="63">
                  <a:moveTo>
                    <a:pt x="628" y="62"/>
                  </a:moveTo>
                  <a:cubicBezTo>
                    <a:pt x="632" y="41"/>
                    <a:pt x="632" y="41"/>
                    <a:pt x="632" y="41"/>
                  </a:cubicBezTo>
                  <a:cubicBezTo>
                    <a:pt x="633" y="36"/>
                    <a:pt x="634" y="33"/>
                    <a:pt x="636" y="30"/>
                  </a:cubicBezTo>
                  <a:cubicBezTo>
                    <a:pt x="637" y="28"/>
                    <a:pt x="639" y="26"/>
                    <a:pt x="641" y="24"/>
                  </a:cubicBezTo>
                  <a:cubicBezTo>
                    <a:pt x="644" y="23"/>
                    <a:pt x="646" y="22"/>
                    <a:pt x="648" y="22"/>
                  </a:cubicBezTo>
                  <a:cubicBezTo>
                    <a:pt x="650" y="22"/>
                    <a:pt x="651" y="23"/>
                    <a:pt x="652" y="24"/>
                  </a:cubicBezTo>
                  <a:cubicBezTo>
                    <a:pt x="653" y="24"/>
                    <a:pt x="653" y="26"/>
                    <a:pt x="653" y="27"/>
                  </a:cubicBezTo>
                  <a:cubicBezTo>
                    <a:pt x="653" y="28"/>
                    <a:pt x="653" y="29"/>
                    <a:pt x="652" y="32"/>
                  </a:cubicBezTo>
                  <a:cubicBezTo>
                    <a:pt x="646" y="62"/>
                    <a:pt x="646" y="62"/>
                    <a:pt x="646" y="62"/>
                  </a:cubicBezTo>
                  <a:cubicBezTo>
                    <a:pt x="654" y="62"/>
                    <a:pt x="654" y="62"/>
                    <a:pt x="654" y="62"/>
                  </a:cubicBezTo>
                  <a:cubicBezTo>
                    <a:pt x="658" y="40"/>
                    <a:pt x="658" y="40"/>
                    <a:pt x="658" y="40"/>
                  </a:cubicBezTo>
                  <a:cubicBezTo>
                    <a:pt x="659" y="35"/>
                    <a:pt x="660" y="32"/>
                    <a:pt x="662" y="30"/>
                  </a:cubicBezTo>
                  <a:cubicBezTo>
                    <a:pt x="663" y="27"/>
                    <a:pt x="665" y="26"/>
                    <a:pt x="667" y="24"/>
                  </a:cubicBezTo>
                  <a:cubicBezTo>
                    <a:pt x="670" y="23"/>
                    <a:pt x="672" y="22"/>
                    <a:pt x="674" y="22"/>
                  </a:cubicBezTo>
                  <a:cubicBezTo>
                    <a:pt x="676" y="22"/>
                    <a:pt x="677" y="23"/>
                    <a:pt x="678" y="24"/>
                  </a:cubicBezTo>
                  <a:cubicBezTo>
                    <a:pt x="679" y="24"/>
                    <a:pt x="680" y="25"/>
                    <a:pt x="680" y="27"/>
                  </a:cubicBezTo>
                  <a:cubicBezTo>
                    <a:pt x="680" y="28"/>
                    <a:pt x="679" y="30"/>
                    <a:pt x="679" y="32"/>
                  </a:cubicBezTo>
                  <a:cubicBezTo>
                    <a:pt x="673" y="62"/>
                    <a:pt x="673" y="62"/>
                    <a:pt x="673" y="62"/>
                  </a:cubicBezTo>
                  <a:cubicBezTo>
                    <a:pt x="680" y="62"/>
                    <a:pt x="680" y="62"/>
                    <a:pt x="680" y="62"/>
                  </a:cubicBezTo>
                  <a:cubicBezTo>
                    <a:pt x="686" y="33"/>
                    <a:pt x="686" y="33"/>
                    <a:pt x="686" y="33"/>
                  </a:cubicBezTo>
                  <a:cubicBezTo>
                    <a:pt x="687" y="30"/>
                    <a:pt x="687" y="27"/>
                    <a:pt x="687" y="26"/>
                  </a:cubicBezTo>
                  <a:cubicBezTo>
                    <a:pt x="687" y="23"/>
                    <a:pt x="686" y="20"/>
                    <a:pt x="684" y="19"/>
                  </a:cubicBezTo>
                  <a:cubicBezTo>
                    <a:pt x="683" y="17"/>
                    <a:pt x="680" y="16"/>
                    <a:pt x="676" y="16"/>
                  </a:cubicBezTo>
                  <a:cubicBezTo>
                    <a:pt x="673" y="16"/>
                    <a:pt x="671" y="17"/>
                    <a:pt x="668" y="18"/>
                  </a:cubicBezTo>
                  <a:cubicBezTo>
                    <a:pt x="666" y="19"/>
                    <a:pt x="663" y="22"/>
                    <a:pt x="661" y="24"/>
                  </a:cubicBezTo>
                  <a:cubicBezTo>
                    <a:pt x="660" y="22"/>
                    <a:pt x="659" y="20"/>
                    <a:pt x="657" y="18"/>
                  </a:cubicBezTo>
                  <a:cubicBezTo>
                    <a:pt x="655" y="17"/>
                    <a:pt x="653" y="16"/>
                    <a:pt x="650" y="16"/>
                  </a:cubicBezTo>
                  <a:cubicBezTo>
                    <a:pt x="648" y="16"/>
                    <a:pt x="645" y="17"/>
                    <a:pt x="643" y="18"/>
                  </a:cubicBezTo>
                  <a:cubicBezTo>
                    <a:pt x="641" y="19"/>
                    <a:pt x="638" y="21"/>
                    <a:pt x="635" y="24"/>
                  </a:cubicBezTo>
                  <a:cubicBezTo>
                    <a:pt x="637" y="17"/>
                    <a:pt x="637" y="17"/>
                    <a:pt x="637" y="17"/>
                  </a:cubicBezTo>
                  <a:cubicBezTo>
                    <a:pt x="629" y="17"/>
                    <a:pt x="629" y="17"/>
                    <a:pt x="629" y="17"/>
                  </a:cubicBezTo>
                  <a:cubicBezTo>
                    <a:pt x="620" y="62"/>
                    <a:pt x="620" y="62"/>
                    <a:pt x="620" y="62"/>
                  </a:cubicBezTo>
                  <a:lnTo>
                    <a:pt x="628" y="62"/>
                  </a:lnTo>
                  <a:close/>
                  <a:moveTo>
                    <a:pt x="600" y="62"/>
                  </a:moveTo>
                  <a:cubicBezTo>
                    <a:pt x="607" y="62"/>
                    <a:pt x="607" y="62"/>
                    <a:pt x="607" y="62"/>
                  </a:cubicBezTo>
                  <a:cubicBezTo>
                    <a:pt x="617" y="17"/>
                    <a:pt x="617" y="17"/>
                    <a:pt x="617" y="17"/>
                  </a:cubicBezTo>
                  <a:cubicBezTo>
                    <a:pt x="609" y="17"/>
                    <a:pt x="609" y="17"/>
                    <a:pt x="609" y="17"/>
                  </a:cubicBezTo>
                  <a:cubicBezTo>
                    <a:pt x="605" y="36"/>
                    <a:pt x="605" y="36"/>
                    <a:pt x="605" y="36"/>
                  </a:cubicBezTo>
                  <a:cubicBezTo>
                    <a:pt x="604" y="40"/>
                    <a:pt x="604" y="43"/>
                    <a:pt x="603" y="44"/>
                  </a:cubicBezTo>
                  <a:cubicBezTo>
                    <a:pt x="602" y="47"/>
                    <a:pt x="601" y="49"/>
                    <a:pt x="599" y="51"/>
                  </a:cubicBezTo>
                  <a:cubicBezTo>
                    <a:pt x="598" y="52"/>
                    <a:pt x="596" y="54"/>
                    <a:pt x="594" y="55"/>
                  </a:cubicBezTo>
                  <a:cubicBezTo>
                    <a:pt x="592" y="56"/>
                    <a:pt x="590" y="56"/>
                    <a:pt x="588" y="56"/>
                  </a:cubicBezTo>
                  <a:cubicBezTo>
                    <a:pt x="586" y="56"/>
                    <a:pt x="584" y="56"/>
                    <a:pt x="583" y="55"/>
                  </a:cubicBezTo>
                  <a:cubicBezTo>
                    <a:pt x="582" y="54"/>
                    <a:pt x="582" y="53"/>
                    <a:pt x="582" y="51"/>
                  </a:cubicBezTo>
                  <a:cubicBezTo>
                    <a:pt x="582" y="50"/>
                    <a:pt x="582" y="48"/>
                    <a:pt x="583" y="46"/>
                  </a:cubicBezTo>
                  <a:cubicBezTo>
                    <a:pt x="589" y="17"/>
                    <a:pt x="589" y="17"/>
                    <a:pt x="589" y="17"/>
                  </a:cubicBezTo>
                  <a:cubicBezTo>
                    <a:pt x="581" y="17"/>
                    <a:pt x="581" y="17"/>
                    <a:pt x="581" y="17"/>
                  </a:cubicBezTo>
                  <a:cubicBezTo>
                    <a:pt x="575" y="43"/>
                    <a:pt x="575" y="43"/>
                    <a:pt x="575" y="43"/>
                  </a:cubicBezTo>
                  <a:cubicBezTo>
                    <a:pt x="575" y="47"/>
                    <a:pt x="574" y="51"/>
                    <a:pt x="574" y="52"/>
                  </a:cubicBezTo>
                  <a:cubicBezTo>
                    <a:pt x="574" y="55"/>
                    <a:pt x="575" y="58"/>
                    <a:pt x="577" y="60"/>
                  </a:cubicBezTo>
                  <a:cubicBezTo>
                    <a:pt x="579" y="62"/>
                    <a:pt x="582" y="63"/>
                    <a:pt x="586" y="63"/>
                  </a:cubicBezTo>
                  <a:cubicBezTo>
                    <a:pt x="591" y="63"/>
                    <a:pt x="597" y="60"/>
                    <a:pt x="602" y="54"/>
                  </a:cubicBezTo>
                  <a:lnTo>
                    <a:pt x="600" y="62"/>
                  </a:lnTo>
                  <a:close/>
                  <a:moveTo>
                    <a:pt x="559" y="62"/>
                  </a:moveTo>
                  <a:cubicBezTo>
                    <a:pt x="565" y="34"/>
                    <a:pt x="565" y="34"/>
                    <a:pt x="565" y="34"/>
                  </a:cubicBezTo>
                  <a:cubicBezTo>
                    <a:pt x="569" y="17"/>
                    <a:pt x="569" y="17"/>
                    <a:pt x="569" y="17"/>
                  </a:cubicBezTo>
                  <a:cubicBezTo>
                    <a:pt x="561" y="17"/>
                    <a:pt x="561" y="17"/>
                    <a:pt x="561" y="17"/>
                  </a:cubicBezTo>
                  <a:cubicBezTo>
                    <a:pt x="557" y="34"/>
                    <a:pt x="557" y="34"/>
                    <a:pt x="557" y="34"/>
                  </a:cubicBezTo>
                  <a:cubicBezTo>
                    <a:pt x="552" y="62"/>
                    <a:pt x="552" y="62"/>
                    <a:pt x="552" y="62"/>
                  </a:cubicBezTo>
                  <a:lnTo>
                    <a:pt x="559" y="62"/>
                  </a:lnTo>
                  <a:close/>
                  <a:moveTo>
                    <a:pt x="570" y="9"/>
                  </a:moveTo>
                  <a:cubicBezTo>
                    <a:pt x="571" y="4"/>
                    <a:pt x="571" y="4"/>
                    <a:pt x="571" y="4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4" y="4"/>
                    <a:pt x="564" y="4"/>
                    <a:pt x="564" y="4"/>
                  </a:cubicBezTo>
                  <a:cubicBezTo>
                    <a:pt x="563" y="9"/>
                    <a:pt x="563" y="9"/>
                    <a:pt x="563" y="9"/>
                  </a:cubicBezTo>
                  <a:lnTo>
                    <a:pt x="570" y="9"/>
                  </a:lnTo>
                  <a:close/>
                  <a:moveTo>
                    <a:pt x="511" y="62"/>
                  </a:moveTo>
                  <a:cubicBezTo>
                    <a:pt x="515" y="41"/>
                    <a:pt x="515" y="41"/>
                    <a:pt x="515" y="41"/>
                  </a:cubicBezTo>
                  <a:cubicBezTo>
                    <a:pt x="517" y="34"/>
                    <a:pt x="519" y="29"/>
                    <a:pt x="522" y="26"/>
                  </a:cubicBezTo>
                  <a:cubicBezTo>
                    <a:pt x="525" y="24"/>
                    <a:pt x="529" y="22"/>
                    <a:pt x="533" y="22"/>
                  </a:cubicBezTo>
                  <a:cubicBezTo>
                    <a:pt x="535" y="22"/>
                    <a:pt x="536" y="23"/>
                    <a:pt x="537" y="24"/>
                  </a:cubicBezTo>
                  <a:cubicBezTo>
                    <a:pt x="538" y="25"/>
                    <a:pt x="539" y="26"/>
                    <a:pt x="539" y="27"/>
                  </a:cubicBezTo>
                  <a:cubicBezTo>
                    <a:pt x="539" y="29"/>
                    <a:pt x="538" y="31"/>
                    <a:pt x="538" y="33"/>
                  </a:cubicBezTo>
                  <a:cubicBezTo>
                    <a:pt x="532" y="62"/>
                    <a:pt x="532" y="62"/>
                    <a:pt x="532" y="62"/>
                  </a:cubicBezTo>
                  <a:cubicBezTo>
                    <a:pt x="539" y="62"/>
                    <a:pt x="539" y="62"/>
                    <a:pt x="539" y="62"/>
                  </a:cubicBezTo>
                  <a:cubicBezTo>
                    <a:pt x="545" y="35"/>
                    <a:pt x="545" y="35"/>
                    <a:pt x="545" y="35"/>
                  </a:cubicBezTo>
                  <a:cubicBezTo>
                    <a:pt x="546" y="31"/>
                    <a:pt x="546" y="28"/>
                    <a:pt x="546" y="27"/>
                  </a:cubicBezTo>
                  <a:cubicBezTo>
                    <a:pt x="546" y="24"/>
                    <a:pt x="545" y="21"/>
                    <a:pt x="543" y="19"/>
                  </a:cubicBezTo>
                  <a:cubicBezTo>
                    <a:pt x="541" y="17"/>
                    <a:pt x="538" y="16"/>
                    <a:pt x="535" y="16"/>
                  </a:cubicBezTo>
                  <a:cubicBezTo>
                    <a:pt x="532" y="16"/>
                    <a:pt x="529" y="17"/>
                    <a:pt x="527" y="18"/>
                  </a:cubicBezTo>
                  <a:cubicBezTo>
                    <a:pt x="524" y="19"/>
                    <a:pt x="521" y="22"/>
                    <a:pt x="518" y="25"/>
                  </a:cubicBezTo>
                  <a:cubicBezTo>
                    <a:pt x="520" y="17"/>
                    <a:pt x="520" y="17"/>
                    <a:pt x="520" y="17"/>
                  </a:cubicBezTo>
                  <a:cubicBezTo>
                    <a:pt x="513" y="17"/>
                    <a:pt x="513" y="17"/>
                    <a:pt x="513" y="17"/>
                  </a:cubicBezTo>
                  <a:cubicBezTo>
                    <a:pt x="504" y="62"/>
                    <a:pt x="504" y="62"/>
                    <a:pt x="504" y="62"/>
                  </a:cubicBezTo>
                  <a:lnTo>
                    <a:pt x="511" y="62"/>
                  </a:lnTo>
                  <a:close/>
                  <a:moveTo>
                    <a:pt x="491" y="62"/>
                  </a:moveTo>
                  <a:cubicBezTo>
                    <a:pt x="497" y="36"/>
                    <a:pt x="497" y="36"/>
                    <a:pt x="497" y="36"/>
                  </a:cubicBezTo>
                  <a:cubicBezTo>
                    <a:pt x="501" y="17"/>
                    <a:pt x="501" y="17"/>
                    <a:pt x="501" y="17"/>
                  </a:cubicBezTo>
                  <a:cubicBezTo>
                    <a:pt x="493" y="17"/>
                    <a:pt x="493" y="17"/>
                    <a:pt x="493" y="17"/>
                  </a:cubicBezTo>
                  <a:cubicBezTo>
                    <a:pt x="489" y="36"/>
                    <a:pt x="489" y="36"/>
                    <a:pt x="489" y="36"/>
                  </a:cubicBezTo>
                  <a:cubicBezTo>
                    <a:pt x="484" y="62"/>
                    <a:pt x="484" y="62"/>
                    <a:pt x="484" y="62"/>
                  </a:cubicBezTo>
                  <a:lnTo>
                    <a:pt x="491" y="62"/>
                  </a:lnTo>
                  <a:close/>
                  <a:moveTo>
                    <a:pt x="502" y="9"/>
                  </a:moveTo>
                  <a:cubicBezTo>
                    <a:pt x="503" y="5"/>
                    <a:pt x="503" y="5"/>
                    <a:pt x="503" y="5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96" y="4"/>
                    <a:pt x="496" y="4"/>
                    <a:pt x="496" y="4"/>
                  </a:cubicBezTo>
                  <a:cubicBezTo>
                    <a:pt x="495" y="9"/>
                    <a:pt x="495" y="9"/>
                    <a:pt x="495" y="9"/>
                  </a:cubicBezTo>
                  <a:lnTo>
                    <a:pt x="502" y="9"/>
                  </a:lnTo>
                  <a:close/>
                  <a:moveTo>
                    <a:pt x="419" y="62"/>
                  </a:moveTo>
                  <a:cubicBezTo>
                    <a:pt x="424" y="41"/>
                    <a:pt x="424" y="41"/>
                    <a:pt x="424" y="41"/>
                  </a:cubicBezTo>
                  <a:cubicBezTo>
                    <a:pt x="425" y="36"/>
                    <a:pt x="426" y="33"/>
                    <a:pt x="427" y="30"/>
                  </a:cubicBezTo>
                  <a:cubicBezTo>
                    <a:pt x="429" y="28"/>
                    <a:pt x="431" y="26"/>
                    <a:pt x="433" y="24"/>
                  </a:cubicBezTo>
                  <a:cubicBezTo>
                    <a:pt x="435" y="23"/>
                    <a:pt x="438" y="22"/>
                    <a:pt x="440" y="22"/>
                  </a:cubicBezTo>
                  <a:cubicBezTo>
                    <a:pt x="441" y="22"/>
                    <a:pt x="443" y="23"/>
                    <a:pt x="443" y="24"/>
                  </a:cubicBezTo>
                  <a:cubicBezTo>
                    <a:pt x="444" y="24"/>
                    <a:pt x="445" y="26"/>
                    <a:pt x="445" y="27"/>
                  </a:cubicBezTo>
                  <a:cubicBezTo>
                    <a:pt x="445" y="28"/>
                    <a:pt x="445" y="29"/>
                    <a:pt x="444" y="32"/>
                  </a:cubicBezTo>
                  <a:cubicBezTo>
                    <a:pt x="438" y="62"/>
                    <a:pt x="438" y="62"/>
                    <a:pt x="438" y="62"/>
                  </a:cubicBezTo>
                  <a:cubicBezTo>
                    <a:pt x="445" y="62"/>
                    <a:pt x="445" y="62"/>
                    <a:pt x="445" y="62"/>
                  </a:cubicBezTo>
                  <a:cubicBezTo>
                    <a:pt x="450" y="40"/>
                    <a:pt x="450" y="40"/>
                    <a:pt x="450" y="40"/>
                  </a:cubicBezTo>
                  <a:cubicBezTo>
                    <a:pt x="451" y="35"/>
                    <a:pt x="452" y="32"/>
                    <a:pt x="453" y="30"/>
                  </a:cubicBezTo>
                  <a:cubicBezTo>
                    <a:pt x="455" y="27"/>
                    <a:pt x="457" y="26"/>
                    <a:pt x="459" y="24"/>
                  </a:cubicBezTo>
                  <a:cubicBezTo>
                    <a:pt x="461" y="23"/>
                    <a:pt x="464" y="22"/>
                    <a:pt x="466" y="22"/>
                  </a:cubicBezTo>
                  <a:cubicBezTo>
                    <a:pt x="468" y="22"/>
                    <a:pt x="469" y="23"/>
                    <a:pt x="470" y="24"/>
                  </a:cubicBezTo>
                  <a:cubicBezTo>
                    <a:pt x="471" y="24"/>
                    <a:pt x="471" y="25"/>
                    <a:pt x="471" y="27"/>
                  </a:cubicBezTo>
                  <a:cubicBezTo>
                    <a:pt x="471" y="28"/>
                    <a:pt x="471" y="30"/>
                    <a:pt x="470" y="3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72" y="62"/>
                    <a:pt x="472" y="62"/>
                    <a:pt x="472" y="62"/>
                  </a:cubicBezTo>
                  <a:cubicBezTo>
                    <a:pt x="478" y="33"/>
                    <a:pt x="478" y="33"/>
                    <a:pt x="478" y="33"/>
                  </a:cubicBezTo>
                  <a:cubicBezTo>
                    <a:pt x="479" y="30"/>
                    <a:pt x="479" y="27"/>
                    <a:pt x="479" y="26"/>
                  </a:cubicBezTo>
                  <a:cubicBezTo>
                    <a:pt x="479" y="23"/>
                    <a:pt x="478" y="20"/>
                    <a:pt x="476" y="19"/>
                  </a:cubicBezTo>
                  <a:cubicBezTo>
                    <a:pt x="474" y="17"/>
                    <a:pt x="471" y="16"/>
                    <a:pt x="468" y="16"/>
                  </a:cubicBezTo>
                  <a:cubicBezTo>
                    <a:pt x="465" y="16"/>
                    <a:pt x="462" y="17"/>
                    <a:pt x="460" y="18"/>
                  </a:cubicBezTo>
                  <a:cubicBezTo>
                    <a:pt x="457" y="19"/>
                    <a:pt x="455" y="22"/>
                    <a:pt x="453" y="24"/>
                  </a:cubicBezTo>
                  <a:cubicBezTo>
                    <a:pt x="452" y="22"/>
                    <a:pt x="451" y="20"/>
                    <a:pt x="449" y="18"/>
                  </a:cubicBezTo>
                  <a:cubicBezTo>
                    <a:pt x="447" y="17"/>
                    <a:pt x="445" y="16"/>
                    <a:pt x="442" y="16"/>
                  </a:cubicBezTo>
                  <a:cubicBezTo>
                    <a:pt x="439" y="16"/>
                    <a:pt x="437" y="17"/>
                    <a:pt x="435" y="18"/>
                  </a:cubicBezTo>
                  <a:cubicBezTo>
                    <a:pt x="432" y="19"/>
                    <a:pt x="430" y="21"/>
                    <a:pt x="427" y="24"/>
                  </a:cubicBezTo>
                  <a:cubicBezTo>
                    <a:pt x="429" y="17"/>
                    <a:pt x="429" y="17"/>
                    <a:pt x="429" y="17"/>
                  </a:cubicBezTo>
                  <a:cubicBezTo>
                    <a:pt x="421" y="17"/>
                    <a:pt x="421" y="17"/>
                    <a:pt x="421" y="17"/>
                  </a:cubicBezTo>
                  <a:cubicBezTo>
                    <a:pt x="412" y="62"/>
                    <a:pt x="412" y="62"/>
                    <a:pt x="412" y="62"/>
                  </a:cubicBezTo>
                  <a:lnTo>
                    <a:pt x="419" y="62"/>
                  </a:lnTo>
                  <a:close/>
                  <a:moveTo>
                    <a:pt x="392" y="62"/>
                  </a:moveTo>
                  <a:cubicBezTo>
                    <a:pt x="399" y="62"/>
                    <a:pt x="399" y="62"/>
                    <a:pt x="399" y="62"/>
                  </a:cubicBezTo>
                  <a:cubicBezTo>
                    <a:pt x="408" y="17"/>
                    <a:pt x="408" y="17"/>
                    <a:pt x="408" y="17"/>
                  </a:cubicBezTo>
                  <a:cubicBezTo>
                    <a:pt x="401" y="17"/>
                    <a:pt x="401" y="17"/>
                    <a:pt x="401" y="17"/>
                  </a:cubicBezTo>
                  <a:cubicBezTo>
                    <a:pt x="397" y="36"/>
                    <a:pt x="397" y="36"/>
                    <a:pt x="397" y="36"/>
                  </a:cubicBezTo>
                  <a:cubicBezTo>
                    <a:pt x="396" y="40"/>
                    <a:pt x="395" y="43"/>
                    <a:pt x="395" y="44"/>
                  </a:cubicBezTo>
                  <a:cubicBezTo>
                    <a:pt x="394" y="47"/>
                    <a:pt x="392" y="49"/>
                    <a:pt x="391" y="51"/>
                  </a:cubicBezTo>
                  <a:cubicBezTo>
                    <a:pt x="390" y="52"/>
                    <a:pt x="388" y="54"/>
                    <a:pt x="386" y="55"/>
                  </a:cubicBezTo>
                  <a:cubicBezTo>
                    <a:pt x="384" y="56"/>
                    <a:pt x="382" y="56"/>
                    <a:pt x="379" y="56"/>
                  </a:cubicBezTo>
                  <a:cubicBezTo>
                    <a:pt x="377" y="56"/>
                    <a:pt x="376" y="56"/>
                    <a:pt x="375" y="55"/>
                  </a:cubicBezTo>
                  <a:cubicBezTo>
                    <a:pt x="374" y="54"/>
                    <a:pt x="373" y="53"/>
                    <a:pt x="373" y="51"/>
                  </a:cubicBezTo>
                  <a:cubicBezTo>
                    <a:pt x="373" y="50"/>
                    <a:pt x="374" y="48"/>
                    <a:pt x="374" y="46"/>
                  </a:cubicBezTo>
                  <a:cubicBezTo>
                    <a:pt x="380" y="17"/>
                    <a:pt x="380" y="17"/>
                    <a:pt x="380" y="1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7" y="43"/>
                    <a:pt x="367" y="43"/>
                    <a:pt x="367" y="43"/>
                  </a:cubicBezTo>
                  <a:cubicBezTo>
                    <a:pt x="366" y="47"/>
                    <a:pt x="366" y="51"/>
                    <a:pt x="366" y="52"/>
                  </a:cubicBezTo>
                  <a:cubicBezTo>
                    <a:pt x="366" y="55"/>
                    <a:pt x="367" y="58"/>
                    <a:pt x="369" y="60"/>
                  </a:cubicBezTo>
                  <a:cubicBezTo>
                    <a:pt x="371" y="62"/>
                    <a:pt x="374" y="63"/>
                    <a:pt x="377" y="63"/>
                  </a:cubicBezTo>
                  <a:cubicBezTo>
                    <a:pt x="383" y="63"/>
                    <a:pt x="388" y="60"/>
                    <a:pt x="394" y="54"/>
                  </a:cubicBezTo>
                  <a:lnTo>
                    <a:pt x="392" y="62"/>
                  </a:lnTo>
                  <a:close/>
                  <a:moveTo>
                    <a:pt x="351" y="62"/>
                  </a:moveTo>
                  <a:cubicBezTo>
                    <a:pt x="358" y="28"/>
                    <a:pt x="358" y="28"/>
                    <a:pt x="358" y="28"/>
                  </a:cubicBezTo>
                  <a:cubicBezTo>
                    <a:pt x="364" y="0"/>
                    <a:pt x="364" y="0"/>
                    <a:pt x="364" y="0"/>
                  </a:cubicBezTo>
                  <a:cubicBezTo>
                    <a:pt x="356" y="0"/>
                    <a:pt x="356" y="0"/>
                    <a:pt x="356" y="0"/>
                  </a:cubicBezTo>
                  <a:cubicBezTo>
                    <a:pt x="350" y="27"/>
                    <a:pt x="350" y="27"/>
                    <a:pt x="350" y="27"/>
                  </a:cubicBezTo>
                  <a:cubicBezTo>
                    <a:pt x="343" y="62"/>
                    <a:pt x="343" y="62"/>
                    <a:pt x="343" y="62"/>
                  </a:cubicBezTo>
                  <a:lnTo>
                    <a:pt x="351" y="62"/>
                  </a:lnTo>
                  <a:close/>
                  <a:moveTo>
                    <a:pt x="325" y="49"/>
                  </a:moveTo>
                  <a:cubicBezTo>
                    <a:pt x="324" y="52"/>
                    <a:pt x="322" y="53"/>
                    <a:pt x="319" y="55"/>
                  </a:cubicBezTo>
                  <a:cubicBezTo>
                    <a:pt x="317" y="56"/>
                    <a:pt x="315" y="57"/>
                    <a:pt x="312" y="57"/>
                  </a:cubicBezTo>
                  <a:cubicBezTo>
                    <a:pt x="309" y="57"/>
                    <a:pt x="307" y="56"/>
                    <a:pt x="306" y="55"/>
                  </a:cubicBezTo>
                  <a:cubicBezTo>
                    <a:pt x="304" y="53"/>
                    <a:pt x="304" y="52"/>
                    <a:pt x="304" y="49"/>
                  </a:cubicBezTo>
                  <a:cubicBezTo>
                    <a:pt x="304" y="48"/>
                    <a:pt x="304" y="46"/>
                    <a:pt x="305" y="45"/>
                  </a:cubicBezTo>
                  <a:cubicBezTo>
                    <a:pt x="306" y="44"/>
                    <a:pt x="307" y="43"/>
                    <a:pt x="309" y="42"/>
                  </a:cubicBezTo>
                  <a:cubicBezTo>
                    <a:pt x="311" y="42"/>
                    <a:pt x="314" y="41"/>
                    <a:pt x="319" y="41"/>
                  </a:cubicBezTo>
                  <a:cubicBezTo>
                    <a:pt x="321" y="40"/>
                    <a:pt x="323" y="40"/>
                    <a:pt x="325" y="40"/>
                  </a:cubicBezTo>
                  <a:cubicBezTo>
                    <a:pt x="326" y="40"/>
                    <a:pt x="327" y="39"/>
                    <a:pt x="328" y="39"/>
                  </a:cubicBezTo>
                  <a:cubicBezTo>
                    <a:pt x="327" y="43"/>
                    <a:pt x="326" y="47"/>
                    <a:pt x="325" y="49"/>
                  </a:cubicBezTo>
                  <a:moveTo>
                    <a:pt x="326" y="62"/>
                  </a:moveTo>
                  <a:cubicBezTo>
                    <a:pt x="334" y="62"/>
                    <a:pt x="334" y="62"/>
                    <a:pt x="334" y="62"/>
                  </a:cubicBezTo>
                  <a:cubicBezTo>
                    <a:pt x="333" y="59"/>
                    <a:pt x="333" y="57"/>
                    <a:pt x="333" y="56"/>
                  </a:cubicBezTo>
                  <a:cubicBezTo>
                    <a:pt x="333" y="53"/>
                    <a:pt x="333" y="51"/>
                    <a:pt x="334" y="47"/>
                  </a:cubicBezTo>
                  <a:cubicBezTo>
                    <a:pt x="337" y="36"/>
                    <a:pt x="337" y="36"/>
                    <a:pt x="337" y="36"/>
                  </a:cubicBezTo>
                  <a:cubicBezTo>
                    <a:pt x="337" y="33"/>
                    <a:pt x="338" y="30"/>
                    <a:pt x="338" y="28"/>
                  </a:cubicBezTo>
                  <a:cubicBezTo>
                    <a:pt x="338" y="24"/>
                    <a:pt x="336" y="22"/>
                    <a:pt x="334" y="20"/>
                  </a:cubicBezTo>
                  <a:cubicBezTo>
                    <a:pt x="331" y="17"/>
                    <a:pt x="326" y="16"/>
                    <a:pt x="321" y="16"/>
                  </a:cubicBezTo>
                  <a:cubicBezTo>
                    <a:pt x="316" y="16"/>
                    <a:pt x="311" y="17"/>
                    <a:pt x="308" y="20"/>
                  </a:cubicBezTo>
                  <a:cubicBezTo>
                    <a:pt x="305" y="22"/>
                    <a:pt x="302" y="25"/>
                    <a:pt x="300" y="30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309" y="28"/>
                    <a:pt x="311" y="26"/>
                    <a:pt x="313" y="24"/>
                  </a:cubicBezTo>
                  <a:cubicBezTo>
                    <a:pt x="315" y="23"/>
                    <a:pt x="317" y="22"/>
                    <a:pt x="320" y="22"/>
                  </a:cubicBezTo>
                  <a:cubicBezTo>
                    <a:pt x="324" y="22"/>
                    <a:pt x="326" y="23"/>
                    <a:pt x="328" y="24"/>
                  </a:cubicBezTo>
                  <a:cubicBezTo>
                    <a:pt x="330" y="25"/>
                    <a:pt x="330" y="27"/>
                    <a:pt x="330" y="28"/>
                  </a:cubicBezTo>
                  <a:cubicBezTo>
                    <a:pt x="330" y="30"/>
                    <a:pt x="330" y="32"/>
                    <a:pt x="329" y="34"/>
                  </a:cubicBezTo>
                  <a:cubicBezTo>
                    <a:pt x="327" y="34"/>
                    <a:pt x="324" y="35"/>
                    <a:pt x="319" y="35"/>
                  </a:cubicBezTo>
                  <a:cubicBezTo>
                    <a:pt x="314" y="35"/>
                    <a:pt x="311" y="36"/>
                    <a:pt x="309" y="36"/>
                  </a:cubicBezTo>
                  <a:cubicBezTo>
                    <a:pt x="307" y="36"/>
                    <a:pt x="304" y="37"/>
                    <a:pt x="302" y="38"/>
                  </a:cubicBezTo>
                  <a:cubicBezTo>
                    <a:pt x="300" y="40"/>
                    <a:pt x="299" y="41"/>
                    <a:pt x="298" y="43"/>
                  </a:cubicBezTo>
                  <a:cubicBezTo>
                    <a:pt x="297" y="45"/>
                    <a:pt x="296" y="47"/>
                    <a:pt x="296" y="50"/>
                  </a:cubicBezTo>
                  <a:cubicBezTo>
                    <a:pt x="296" y="54"/>
                    <a:pt x="297" y="57"/>
                    <a:pt x="300" y="59"/>
                  </a:cubicBezTo>
                  <a:cubicBezTo>
                    <a:pt x="302" y="62"/>
                    <a:pt x="306" y="63"/>
                    <a:pt x="310" y="63"/>
                  </a:cubicBezTo>
                  <a:cubicBezTo>
                    <a:pt x="313" y="63"/>
                    <a:pt x="315" y="62"/>
                    <a:pt x="318" y="61"/>
                  </a:cubicBezTo>
                  <a:cubicBezTo>
                    <a:pt x="320" y="60"/>
                    <a:pt x="323" y="58"/>
                    <a:pt x="325" y="56"/>
                  </a:cubicBezTo>
                  <a:cubicBezTo>
                    <a:pt x="325" y="58"/>
                    <a:pt x="326" y="60"/>
                    <a:pt x="326" y="62"/>
                  </a:cubicBezTo>
                  <a:moveTo>
                    <a:pt x="239" y="25"/>
                  </a:moveTo>
                  <a:cubicBezTo>
                    <a:pt x="242" y="23"/>
                    <a:pt x="245" y="22"/>
                    <a:pt x="248" y="22"/>
                  </a:cubicBezTo>
                  <a:cubicBezTo>
                    <a:pt x="251" y="22"/>
                    <a:pt x="253" y="23"/>
                    <a:pt x="255" y="25"/>
                  </a:cubicBezTo>
                  <a:cubicBezTo>
                    <a:pt x="257" y="27"/>
                    <a:pt x="258" y="30"/>
                    <a:pt x="258" y="34"/>
                  </a:cubicBezTo>
                  <a:cubicBezTo>
                    <a:pt x="258" y="34"/>
                    <a:pt x="258" y="35"/>
                    <a:pt x="258" y="35"/>
                  </a:cubicBezTo>
                  <a:cubicBezTo>
                    <a:pt x="233" y="35"/>
                    <a:pt x="233" y="35"/>
                    <a:pt x="233" y="35"/>
                  </a:cubicBezTo>
                  <a:cubicBezTo>
                    <a:pt x="234" y="31"/>
                    <a:pt x="236" y="28"/>
                    <a:pt x="239" y="25"/>
                  </a:cubicBezTo>
                  <a:moveTo>
                    <a:pt x="249" y="54"/>
                  </a:moveTo>
                  <a:cubicBezTo>
                    <a:pt x="247" y="56"/>
                    <a:pt x="244" y="56"/>
                    <a:pt x="242" y="56"/>
                  </a:cubicBezTo>
                  <a:cubicBezTo>
                    <a:pt x="239" y="56"/>
                    <a:pt x="236" y="55"/>
                    <a:pt x="235" y="53"/>
                  </a:cubicBezTo>
                  <a:cubicBezTo>
                    <a:pt x="233" y="51"/>
                    <a:pt x="232" y="48"/>
                    <a:pt x="232" y="44"/>
                  </a:cubicBezTo>
                  <a:cubicBezTo>
                    <a:pt x="232" y="43"/>
                    <a:pt x="232" y="42"/>
                    <a:pt x="232" y="41"/>
                  </a:cubicBezTo>
                  <a:cubicBezTo>
                    <a:pt x="265" y="41"/>
                    <a:pt x="265" y="41"/>
                    <a:pt x="265" y="41"/>
                  </a:cubicBezTo>
                  <a:cubicBezTo>
                    <a:pt x="265" y="39"/>
                    <a:pt x="265" y="37"/>
                    <a:pt x="265" y="35"/>
                  </a:cubicBezTo>
                  <a:cubicBezTo>
                    <a:pt x="265" y="29"/>
                    <a:pt x="264" y="24"/>
                    <a:pt x="261" y="21"/>
                  </a:cubicBezTo>
                  <a:cubicBezTo>
                    <a:pt x="257" y="18"/>
                    <a:pt x="253" y="16"/>
                    <a:pt x="248" y="16"/>
                  </a:cubicBezTo>
                  <a:cubicBezTo>
                    <a:pt x="244" y="16"/>
                    <a:pt x="240" y="17"/>
                    <a:pt x="236" y="19"/>
                  </a:cubicBezTo>
                  <a:cubicBezTo>
                    <a:pt x="233" y="22"/>
                    <a:pt x="230" y="25"/>
                    <a:pt x="227" y="30"/>
                  </a:cubicBezTo>
                  <a:cubicBezTo>
                    <a:pt x="225" y="34"/>
                    <a:pt x="224" y="39"/>
                    <a:pt x="224" y="44"/>
                  </a:cubicBezTo>
                  <a:cubicBezTo>
                    <a:pt x="224" y="48"/>
                    <a:pt x="225" y="51"/>
                    <a:pt x="226" y="54"/>
                  </a:cubicBezTo>
                  <a:cubicBezTo>
                    <a:pt x="228" y="57"/>
                    <a:pt x="230" y="59"/>
                    <a:pt x="232" y="60"/>
                  </a:cubicBezTo>
                  <a:cubicBezTo>
                    <a:pt x="235" y="62"/>
                    <a:pt x="238" y="63"/>
                    <a:pt x="242" y="63"/>
                  </a:cubicBezTo>
                  <a:cubicBezTo>
                    <a:pt x="247" y="63"/>
                    <a:pt x="251" y="61"/>
                    <a:pt x="255" y="58"/>
                  </a:cubicBezTo>
                  <a:cubicBezTo>
                    <a:pt x="259" y="54"/>
                    <a:pt x="262" y="51"/>
                    <a:pt x="263" y="47"/>
                  </a:cubicBezTo>
                  <a:cubicBezTo>
                    <a:pt x="255" y="47"/>
                    <a:pt x="255" y="47"/>
                    <a:pt x="255" y="47"/>
                  </a:cubicBezTo>
                  <a:cubicBezTo>
                    <a:pt x="254" y="50"/>
                    <a:pt x="252" y="52"/>
                    <a:pt x="249" y="54"/>
                  </a:cubicBezTo>
                  <a:moveTo>
                    <a:pt x="200" y="62"/>
                  </a:moveTo>
                  <a:cubicBezTo>
                    <a:pt x="204" y="44"/>
                    <a:pt x="204" y="44"/>
                    <a:pt x="204" y="44"/>
                  </a:cubicBezTo>
                  <a:cubicBezTo>
                    <a:pt x="206" y="36"/>
                    <a:pt x="208" y="31"/>
                    <a:pt x="211" y="28"/>
                  </a:cubicBezTo>
                  <a:cubicBezTo>
                    <a:pt x="214" y="25"/>
                    <a:pt x="216" y="23"/>
                    <a:pt x="219" y="23"/>
                  </a:cubicBezTo>
                  <a:cubicBezTo>
                    <a:pt x="221" y="23"/>
                    <a:pt x="222" y="24"/>
                    <a:pt x="223" y="25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4" y="17"/>
                    <a:pt x="222" y="16"/>
                    <a:pt x="221" y="16"/>
                  </a:cubicBezTo>
                  <a:cubicBezTo>
                    <a:pt x="219" y="16"/>
                    <a:pt x="216" y="17"/>
                    <a:pt x="214" y="18"/>
                  </a:cubicBezTo>
                  <a:cubicBezTo>
                    <a:pt x="212" y="20"/>
                    <a:pt x="210" y="23"/>
                    <a:pt x="207" y="26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3" y="62"/>
                    <a:pt x="193" y="62"/>
                    <a:pt x="193" y="62"/>
                  </a:cubicBezTo>
                  <a:lnTo>
                    <a:pt x="200" y="62"/>
                  </a:lnTo>
                  <a:close/>
                  <a:moveTo>
                    <a:pt x="175" y="49"/>
                  </a:moveTo>
                  <a:cubicBezTo>
                    <a:pt x="173" y="52"/>
                    <a:pt x="171" y="53"/>
                    <a:pt x="169" y="55"/>
                  </a:cubicBezTo>
                  <a:cubicBezTo>
                    <a:pt x="167" y="56"/>
                    <a:pt x="164" y="57"/>
                    <a:pt x="162" y="57"/>
                  </a:cubicBezTo>
                  <a:cubicBezTo>
                    <a:pt x="159" y="57"/>
                    <a:pt x="157" y="56"/>
                    <a:pt x="155" y="55"/>
                  </a:cubicBezTo>
                  <a:cubicBezTo>
                    <a:pt x="154" y="53"/>
                    <a:pt x="153" y="52"/>
                    <a:pt x="153" y="49"/>
                  </a:cubicBezTo>
                  <a:cubicBezTo>
                    <a:pt x="153" y="48"/>
                    <a:pt x="154" y="46"/>
                    <a:pt x="155" y="45"/>
                  </a:cubicBezTo>
                  <a:cubicBezTo>
                    <a:pt x="156" y="44"/>
                    <a:pt x="157" y="43"/>
                    <a:pt x="159" y="42"/>
                  </a:cubicBezTo>
                  <a:cubicBezTo>
                    <a:pt x="161" y="42"/>
                    <a:pt x="164" y="41"/>
                    <a:pt x="168" y="41"/>
                  </a:cubicBezTo>
                  <a:cubicBezTo>
                    <a:pt x="171" y="40"/>
                    <a:pt x="173" y="40"/>
                    <a:pt x="174" y="40"/>
                  </a:cubicBezTo>
                  <a:cubicBezTo>
                    <a:pt x="176" y="40"/>
                    <a:pt x="177" y="39"/>
                    <a:pt x="178" y="39"/>
                  </a:cubicBezTo>
                  <a:cubicBezTo>
                    <a:pt x="177" y="43"/>
                    <a:pt x="176" y="47"/>
                    <a:pt x="175" y="49"/>
                  </a:cubicBezTo>
                  <a:moveTo>
                    <a:pt x="176" y="62"/>
                  </a:moveTo>
                  <a:cubicBezTo>
                    <a:pt x="184" y="62"/>
                    <a:pt x="184" y="62"/>
                    <a:pt x="184" y="62"/>
                  </a:cubicBezTo>
                  <a:cubicBezTo>
                    <a:pt x="183" y="59"/>
                    <a:pt x="183" y="57"/>
                    <a:pt x="183" y="56"/>
                  </a:cubicBezTo>
                  <a:cubicBezTo>
                    <a:pt x="183" y="53"/>
                    <a:pt x="183" y="51"/>
                    <a:pt x="184" y="47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7" y="33"/>
                    <a:pt x="187" y="30"/>
                    <a:pt x="187" y="28"/>
                  </a:cubicBezTo>
                  <a:cubicBezTo>
                    <a:pt x="187" y="24"/>
                    <a:pt x="186" y="22"/>
                    <a:pt x="184" y="20"/>
                  </a:cubicBezTo>
                  <a:cubicBezTo>
                    <a:pt x="180" y="17"/>
                    <a:pt x="176" y="16"/>
                    <a:pt x="170" y="16"/>
                  </a:cubicBezTo>
                  <a:cubicBezTo>
                    <a:pt x="165" y="16"/>
                    <a:pt x="161" y="17"/>
                    <a:pt x="158" y="20"/>
                  </a:cubicBezTo>
                  <a:cubicBezTo>
                    <a:pt x="154" y="22"/>
                    <a:pt x="152" y="25"/>
                    <a:pt x="150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28"/>
                    <a:pt x="160" y="26"/>
                    <a:pt x="162" y="24"/>
                  </a:cubicBezTo>
                  <a:cubicBezTo>
                    <a:pt x="164" y="23"/>
                    <a:pt x="167" y="22"/>
                    <a:pt x="170" y="22"/>
                  </a:cubicBezTo>
                  <a:cubicBezTo>
                    <a:pt x="173" y="22"/>
                    <a:pt x="176" y="23"/>
                    <a:pt x="178" y="24"/>
                  </a:cubicBezTo>
                  <a:cubicBezTo>
                    <a:pt x="179" y="25"/>
                    <a:pt x="180" y="27"/>
                    <a:pt x="180" y="28"/>
                  </a:cubicBezTo>
                  <a:cubicBezTo>
                    <a:pt x="180" y="30"/>
                    <a:pt x="179" y="32"/>
                    <a:pt x="179" y="34"/>
                  </a:cubicBezTo>
                  <a:cubicBezTo>
                    <a:pt x="177" y="34"/>
                    <a:pt x="173" y="35"/>
                    <a:pt x="169" y="35"/>
                  </a:cubicBezTo>
                  <a:cubicBezTo>
                    <a:pt x="164" y="35"/>
                    <a:pt x="161" y="36"/>
                    <a:pt x="159" y="36"/>
                  </a:cubicBezTo>
                  <a:cubicBezTo>
                    <a:pt x="156" y="36"/>
                    <a:pt x="154" y="37"/>
                    <a:pt x="152" y="38"/>
                  </a:cubicBezTo>
                  <a:cubicBezTo>
                    <a:pt x="150" y="40"/>
                    <a:pt x="149" y="41"/>
                    <a:pt x="147" y="43"/>
                  </a:cubicBezTo>
                  <a:cubicBezTo>
                    <a:pt x="146" y="45"/>
                    <a:pt x="146" y="47"/>
                    <a:pt x="146" y="50"/>
                  </a:cubicBezTo>
                  <a:cubicBezTo>
                    <a:pt x="146" y="54"/>
                    <a:pt x="147" y="57"/>
                    <a:pt x="149" y="59"/>
                  </a:cubicBezTo>
                  <a:cubicBezTo>
                    <a:pt x="152" y="62"/>
                    <a:pt x="155" y="63"/>
                    <a:pt x="159" y="63"/>
                  </a:cubicBezTo>
                  <a:cubicBezTo>
                    <a:pt x="162" y="63"/>
                    <a:pt x="165" y="62"/>
                    <a:pt x="167" y="61"/>
                  </a:cubicBezTo>
                  <a:cubicBezTo>
                    <a:pt x="170" y="60"/>
                    <a:pt x="172" y="58"/>
                    <a:pt x="175" y="56"/>
                  </a:cubicBezTo>
                  <a:cubicBezTo>
                    <a:pt x="175" y="58"/>
                    <a:pt x="175" y="60"/>
                    <a:pt x="176" y="62"/>
                  </a:cubicBezTo>
                  <a:moveTo>
                    <a:pt x="89" y="25"/>
                  </a:moveTo>
                  <a:cubicBezTo>
                    <a:pt x="91" y="23"/>
                    <a:pt x="94" y="22"/>
                    <a:pt x="98" y="22"/>
                  </a:cubicBezTo>
                  <a:cubicBezTo>
                    <a:pt x="101" y="22"/>
                    <a:pt x="103" y="23"/>
                    <a:pt x="105" y="25"/>
                  </a:cubicBezTo>
                  <a:cubicBezTo>
                    <a:pt x="107" y="27"/>
                    <a:pt x="108" y="30"/>
                    <a:pt x="108" y="34"/>
                  </a:cubicBezTo>
                  <a:cubicBezTo>
                    <a:pt x="108" y="34"/>
                    <a:pt x="108" y="35"/>
                    <a:pt x="108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4" y="31"/>
                    <a:pt x="86" y="28"/>
                    <a:pt x="89" y="25"/>
                  </a:cubicBezTo>
                  <a:moveTo>
                    <a:pt x="99" y="54"/>
                  </a:moveTo>
                  <a:cubicBezTo>
                    <a:pt x="96" y="56"/>
                    <a:pt x="94" y="56"/>
                    <a:pt x="91" y="56"/>
                  </a:cubicBezTo>
                  <a:cubicBezTo>
                    <a:pt x="88" y="56"/>
                    <a:pt x="86" y="55"/>
                    <a:pt x="84" y="53"/>
                  </a:cubicBezTo>
                  <a:cubicBezTo>
                    <a:pt x="82" y="51"/>
                    <a:pt x="81" y="48"/>
                    <a:pt x="81" y="44"/>
                  </a:cubicBezTo>
                  <a:cubicBezTo>
                    <a:pt x="81" y="43"/>
                    <a:pt x="81" y="42"/>
                    <a:pt x="81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39"/>
                    <a:pt x="115" y="37"/>
                    <a:pt x="115" y="35"/>
                  </a:cubicBezTo>
                  <a:cubicBezTo>
                    <a:pt x="115" y="29"/>
                    <a:pt x="113" y="24"/>
                    <a:pt x="110" y="21"/>
                  </a:cubicBezTo>
                  <a:cubicBezTo>
                    <a:pt x="107" y="18"/>
                    <a:pt x="103" y="16"/>
                    <a:pt x="97" y="16"/>
                  </a:cubicBezTo>
                  <a:cubicBezTo>
                    <a:pt x="93" y="16"/>
                    <a:pt x="89" y="17"/>
                    <a:pt x="86" y="19"/>
                  </a:cubicBezTo>
                  <a:cubicBezTo>
                    <a:pt x="82" y="22"/>
                    <a:pt x="79" y="25"/>
                    <a:pt x="77" y="30"/>
                  </a:cubicBezTo>
                  <a:cubicBezTo>
                    <a:pt x="75" y="34"/>
                    <a:pt x="74" y="39"/>
                    <a:pt x="74" y="44"/>
                  </a:cubicBezTo>
                  <a:cubicBezTo>
                    <a:pt x="74" y="48"/>
                    <a:pt x="74" y="51"/>
                    <a:pt x="76" y="54"/>
                  </a:cubicBezTo>
                  <a:cubicBezTo>
                    <a:pt x="77" y="57"/>
                    <a:pt x="79" y="59"/>
                    <a:pt x="82" y="60"/>
                  </a:cubicBezTo>
                  <a:cubicBezTo>
                    <a:pt x="85" y="62"/>
                    <a:pt x="88" y="63"/>
                    <a:pt x="91" y="63"/>
                  </a:cubicBezTo>
                  <a:cubicBezTo>
                    <a:pt x="96" y="63"/>
                    <a:pt x="101" y="61"/>
                    <a:pt x="105" y="58"/>
                  </a:cubicBezTo>
                  <a:cubicBezTo>
                    <a:pt x="109" y="54"/>
                    <a:pt x="111" y="51"/>
                    <a:pt x="112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3" y="50"/>
                    <a:pt x="101" y="52"/>
                    <a:pt x="99" y="54"/>
                  </a:cubicBezTo>
                  <a:moveTo>
                    <a:pt x="12" y="6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4" y="19"/>
                    <a:pt x="36" y="16"/>
                    <a:pt x="38" y="13"/>
                  </a:cubicBezTo>
                  <a:cubicBezTo>
                    <a:pt x="38" y="17"/>
                    <a:pt x="38" y="21"/>
                    <a:pt x="38" y="24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7"/>
                    <a:pt x="52" y="40"/>
                    <a:pt x="50" y="45"/>
                  </a:cubicBezTo>
                  <a:cubicBezTo>
                    <a:pt x="48" y="47"/>
                    <a:pt x="48" y="50"/>
                    <a:pt x="47" y="51"/>
                  </a:cubicBezTo>
                  <a:cubicBezTo>
                    <a:pt x="47" y="45"/>
                    <a:pt x="47" y="40"/>
                    <a:pt x="47" y="3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8"/>
                    <a:pt x="13" y="43"/>
                    <a:pt x="10" y="50"/>
                  </a:cubicBezTo>
                  <a:cubicBezTo>
                    <a:pt x="10" y="48"/>
                    <a:pt x="10" y="47"/>
                    <a:pt x="10" y="46"/>
                  </a:cubicBezTo>
                  <a:cubicBezTo>
                    <a:pt x="10" y="45"/>
                    <a:pt x="10" y="44"/>
                    <a:pt x="10" y="42"/>
                  </a:cubicBezTo>
                  <a:cubicBezTo>
                    <a:pt x="10" y="36"/>
                    <a:pt x="9" y="32"/>
                    <a:pt x="9" y="3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2"/>
                    <a:pt x="3" y="62"/>
                    <a:pt x="3" y="62"/>
                  </a:cubicBezTo>
                  <a:lnTo>
                    <a:pt x="1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4A81AE7-89B1-4C9A-BEB0-68351ECC3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5745" y="6127769"/>
            <a:ext cx="2259101" cy="204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57671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 default - with tag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">
            <a:extLst>
              <a:ext uri="{FF2B5EF4-FFF2-40B4-BE49-F238E27FC236}">
                <a16:creationId xmlns:a16="http://schemas.microsoft.com/office/drawing/2014/main" xmlns="" id="{CCAB14FA-48D7-4E08-8DBC-8BADE76A5197}"/>
              </a:ext>
            </a:extLst>
          </p:cNvPr>
          <p:cNvGrpSpPr/>
          <p:nvPr/>
        </p:nvGrpSpPr>
        <p:grpSpPr>
          <a:xfrm>
            <a:off x="4963463" y="1931307"/>
            <a:ext cx="2265073" cy="2542514"/>
            <a:chOff x="4963463" y="1931307"/>
            <a:chExt cx="2265073" cy="254251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140C728F-4903-4046-9527-30BED6B2C0CC}"/>
                </a:ext>
              </a:extLst>
            </p:cNvPr>
            <p:cNvSpPr/>
            <p:nvPr/>
          </p:nvSpPr>
          <p:spPr>
            <a:xfrm>
              <a:off x="5156911" y="3153598"/>
              <a:ext cx="410663" cy="525526"/>
            </a:xfrm>
            <a:custGeom>
              <a:avLst/>
              <a:gdLst>
                <a:gd name="connsiteX0" fmla="*/ 93083 w 410663"/>
                <a:gd name="connsiteY0" fmla="*/ 296081 h 525526"/>
                <a:gd name="connsiteX1" fmla="*/ 93083 w 410663"/>
                <a:gd name="connsiteY1" fmla="*/ 525399 h 525526"/>
                <a:gd name="connsiteX2" fmla="*/ -216 w 410663"/>
                <a:gd name="connsiteY2" fmla="*/ 525399 h 525526"/>
                <a:gd name="connsiteX3" fmla="*/ -216 w 410663"/>
                <a:gd name="connsiteY3" fmla="*/ -128 h 525526"/>
                <a:gd name="connsiteX4" fmla="*/ 93083 w 410663"/>
                <a:gd name="connsiteY4" fmla="*/ -128 h 525526"/>
                <a:gd name="connsiteX5" fmla="*/ 93083 w 410663"/>
                <a:gd name="connsiteY5" fmla="*/ 213775 h 525526"/>
                <a:gd name="connsiteX6" fmla="*/ 317154 w 410663"/>
                <a:gd name="connsiteY6" fmla="*/ 213775 h 525526"/>
                <a:gd name="connsiteX7" fmla="*/ 317154 w 410663"/>
                <a:gd name="connsiteY7" fmla="*/ -128 h 525526"/>
                <a:gd name="connsiteX8" fmla="*/ 410448 w 410663"/>
                <a:gd name="connsiteY8" fmla="*/ -128 h 525526"/>
                <a:gd name="connsiteX9" fmla="*/ 410448 w 410663"/>
                <a:gd name="connsiteY9" fmla="*/ 525399 h 525526"/>
                <a:gd name="connsiteX10" fmla="*/ 317154 w 410663"/>
                <a:gd name="connsiteY10" fmla="*/ 525399 h 525526"/>
                <a:gd name="connsiteX11" fmla="*/ 317154 w 410663"/>
                <a:gd name="connsiteY11" fmla="*/ 296081 h 52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0663" h="525526">
                  <a:moveTo>
                    <a:pt x="93083" y="296081"/>
                  </a:moveTo>
                  <a:lnTo>
                    <a:pt x="93083" y="525399"/>
                  </a:lnTo>
                  <a:lnTo>
                    <a:pt x="-216" y="525399"/>
                  </a:lnTo>
                  <a:lnTo>
                    <a:pt x="-216" y="-128"/>
                  </a:lnTo>
                  <a:lnTo>
                    <a:pt x="93083" y="-128"/>
                  </a:lnTo>
                  <a:lnTo>
                    <a:pt x="93083" y="213775"/>
                  </a:lnTo>
                  <a:lnTo>
                    <a:pt x="317154" y="213775"/>
                  </a:lnTo>
                  <a:lnTo>
                    <a:pt x="317154" y="-128"/>
                  </a:lnTo>
                  <a:lnTo>
                    <a:pt x="410448" y="-128"/>
                  </a:lnTo>
                  <a:lnTo>
                    <a:pt x="410448" y="525399"/>
                  </a:lnTo>
                  <a:lnTo>
                    <a:pt x="317154" y="525399"/>
                  </a:lnTo>
                  <a:lnTo>
                    <a:pt x="317154" y="296081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8C0CCC6D-D04C-411F-B43C-747EF28D416E}"/>
                </a:ext>
              </a:extLst>
            </p:cNvPr>
            <p:cNvSpPr/>
            <p:nvPr/>
          </p:nvSpPr>
          <p:spPr>
            <a:xfrm>
              <a:off x="5602821" y="3293248"/>
              <a:ext cx="382758" cy="518180"/>
            </a:xfrm>
            <a:custGeom>
              <a:avLst/>
              <a:gdLst>
                <a:gd name="connsiteX0" fmla="*/ 85028 w 382758"/>
                <a:gd name="connsiteY0" fmla="*/ 518053 h 518180"/>
                <a:gd name="connsiteX1" fmla="*/ 145246 w 382758"/>
                <a:gd name="connsiteY1" fmla="*/ 375451 h 518180"/>
                <a:gd name="connsiteX2" fmla="*/ -216 w 382758"/>
                <a:gd name="connsiteY2" fmla="*/ -128 h 518180"/>
                <a:gd name="connsiteX3" fmla="*/ 98232 w 382758"/>
                <a:gd name="connsiteY3" fmla="*/ -128 h 518180"/>
                <a:gd name="connsiteX4" fmla="*/ 192266 w 382758"/>
                <a:gd name="connsiteY4" fmla="*/ 275498 h 518180"/>
                <a:gd name="connsiteX5" fmla="*/ 286305 w 382758"/>
                <a:gd name="connsiteY5" fmla="*/ -128 h 518180"/>
                <a:gd name="connsiteX6" fmla="*/ 382543 w 382758"/>
                <a:gd name="connsiteY6" fmla="*/ -128 h 518180"/>
                <a:gd name="connsiteX7" fmla="*/ 176106 w 382758"/>
                <a:gd name="connsiteY7" fmla="*/ 518048 h 51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2758" h="518180">
                  <a:moveTo>
                    <a:pt x="85028" y="518053"/>
                  </a:moveTo>
                  <a:lnTo>
                    <a:pt x="145246" y="375451"/>
                  </a:lnTo>
                  <a:cubicBezTo>
                    <a:pt x="101166" y="258590"/>
                    <a:pt x="47539" y="121145"/>
                    <a:pt x="-216" y="-128"/>
                  </a:cubicBezTo>
                  <a:lnTo>
                    <a:pt x="98232" y="-128"/>
                  </a:lnTo>
                  <a:cubicBezTo>
                    <a:pt x="140843" y="122615"/>
                    <a:pt x="165079" y="199791"/>
                    <a:pt x="192266" y="275498"/>
                  </a:cubicBezTo>
                  <a:cubicBezTo>
                    <a:pt x="215778" y="211548"/>
                    <a:pt x="254693" y="91010"/>
                    <a:pt x="286305" y="-128"/>
                  </a:cubicBezTo>
                  <a:lnTo>
                    <a:pt x="382543" y="-128"/>
                  </a:lnTo>
                  <a:cubicBezTo>
                    <a:pt x="314955" y="170392"/>
                    <a:pt x="248103" y="341647"/>
                    <a:pt x="176106" y="518048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60B0DC9D-4D36-47B5-97D7-A352B8A299DC}"/>
                </a:ext>
              </a:extLst>
            </p:cNvPr>
            <p:cNvSpPr/>
            <p:nvPr/>
          </p:nvSpPr>
          <p:spPr>
            <a:xfrm>
              <a:off x="5975309" y="3153598"/>
              <a:ext cx="395238" cy="534347"/>
            </a:xfrm>
            <a:custGeom>
              <a:avLst/>
              <a:gdLst>
                <a:gd name="connsiteX0" fmla="*/ 310536 w 395238"/>
                <a:gd name="connsiteY0" fmla="*/ 525399 h 534347"/>
                <a:gd name="connsiteX1" fmla="*/ 310536 w 395238"/>
                <a:gd name="connsiteY1" fmla="*/ 471011 h 534347"/>
                <a:gd name="connsiteX2" fmla="*/ 177570 w 395238"/>
                <a:gd name="connsiteY2" fmla="*/ 534220 h 534347"/>
                <a:gd name="connsiteX3" fmla="*/ -216 w 395238"/>
                <a:gd name="connsiteY3" fmla="*/ 331372 h 534347"/>
                <a:gd name="connsiteX4" fmla="*/ 179769 w 395238"/>
                <a:gd name="connsiteY4" fmla="*/ 127042 h 534347"/>
                <a:gd name="connsiteX5" fmla="*/ 306133 w 395238"/>
                <a:gd name="connsiteY5" fmla="*/ 188781 h 534347"/>
                <a:gd name="connsiteX6" fmla="*/ 305398 w 395238"/>
                <a:gd name="connsiteY6" fmla="*/ 112346 h 534347"/>
                <a:gd name="connsiteX7" fmla="*/ 305398 w 395238"/>
                <a:gd name="connsiteY7" fmla="*/ -128 h 534347"/>
                <a:gd name="connsiteX8" fmla="*/ 395023 w 395238"/>
                <a:gd name="connsiteY8" fmla="*/ -128 h 534347"/>
                <a:gd name="connsiteX9" fmla="*/ 395023 w 395238"/>
                <a:gd name="connsiteY9" fmla="*/ 525399 h 534347"/>
                <a:gd name="connsiteX10" fmla="*/ 91614 w 395238"/>
                <a:gd name="connsiteY10" fmla="*/ 332831 h 534347"/>
                <a:gd name="connsiteX11" fmla="*/ 198138 w 395238"/>
                <a:gd name="connsiteY11" fmla="*/ 461455 h 534347"/>
                <a:gd name="connsiteX12" fmla="*/ 309801 w 395238"/>
                <a:gd name="connsiteY12" fmla="*/ 329907 h 534347"/>
                <a:gd name="connsiteX13" fmla="*/ 198873 w 395238"/>
                <a:gd name="connsiteY13" fmla="*/ 201284 h 534347"/>
                <a:gd name="connsiteX14" fmla="*/ 91614 w 395238"/>
                <a:gd name="connsiteY14" fmla="*/ 332831 h 53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238" h="534347">
                  <a:moveTo>
                    <a:pt x="310536" y="525399"/>
                  </a:moveTo>
                  <a:lnTo>
                    <a:pt x="310536" y="471011"/>
                  </a:lnTo>
                  <a:cubicBezTo>
                    <a:pt x="288498" y="504821"/>
                    <a:pt x="243688" y="534220"/>
                    <a:pt x="177570" y="534220"/>
                  </a:cubicBezTo>
                  <a:cubicBezTo>
                    <a:pt x="72510" y="534220"/>
                    <a:pt x="-216" y="451904"/>
                    <a:pt x="-216" y="331372"/>
                  </a:cubicBezTo>
                  <a:cubicBezTo>
                    <a:pt x="-216" y="214510"/>
                    <a:pt x="69576" y="127042"/>
                    <a:pt x="179769" y="127042"/>
                  </a:cubicBezTo>
                  <a:cubicBezTo>
                    <a:pt x="240744" y="127042"/>
                    <a:pt x="284830" y="157177"/>
                    <a:pt x="306133" y="188781"/>
                  </a:cubicBezTo>
                  <a:cubicBezTo>
                    <a:pt x="305398" y="161587"/>
                    <a:pt x="305398" y="138804"/>
                    <a:pt x="305398" y="112346"/>
                  </a:cubicBezTo>
                  <a:lnTo>
                    <a:pt x="305398" y="-128"/>
                  </a:lnTo>
                  <a:lnTo>
                    <a:pt x="395023" y="-128"/>
                  </a:lnTo>
                  <a:lnTo>
                    <a:pt x="395023" y="525399"/>
                  </a:lnTo>
                  <a:close/>
                  <a:moveTo>
                    <a:pt x="91614" y="332831"/>
                  </a:moveTo>
                  <a:cubicBezTo>
                    <a:pt x="91614" y="406343"/>
                    <a:pt x="131286" y="461455"/>
                    <a:pt x="198138" y="461455"/>
                  </a:cubicBezTo>
                  <a:cubicBezTo>
                    <a:pt x="267930" y="461455"/>
                    <a:pt x="309801" y="405597"/>
                    <a:pt x="309801" y="329907"/>
                  </a:cubicBezTo>
                  <a:cubicBezTo>
                    <a:pt x="309801" y="255671"/>
                    <a:pt x="263522" y="201284"/>
                    <a:pt x="198873" y="201284"/>
                  </a:cubicBezTo>
                  <a:cubicBezTo>
                    <a:pt x="131286" y="201267"/>
                    <a:pt x="91614" y="259330"/>
                    <a:pt x="91614" y="33283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26B931DA-7BAE-45DC-B05B-DE9F1CAC313B}"/>
                </a:ext>
              </a:extLst>
            </p:cNvPr>
            <p:cNvSpPr/>
            <p:nvPr/>
          </p:nvSpPr>
          <p:spPr>
            <a:xfrm>
              <a:off x="6427854" y="3283695"/>
              <a:ext cx="198354" cy="395429"/>
            </a:xfrm>
            <a:custGeom>
              <a:avLst/>
              <a:gdLst>
                <a:gd name="connsiteX0" fmla="*/ 84266 w 198354"/>
                <a:gd name="connsiteY0" fmla="*/ 8696 h 395429"/>
                <a:gd name="connsiteX1" fmla="*/ 84266 w 198354"/>
                <a:gd name="connsiteY1" fmla="*/ 35155 h 395429"/>
                <a:gd name="connsiteX2" fmla="*/ 83537 w 198354"/>
                <a:gd name="connsiteY2" fmla="*/ 60878 h 395429"/>
                <a:gd name="connsiteX3" fmla="*/ 176835 w 198354"/>
                <a:gd name="connsiteY3" fmla="*/ -125 h 395429"/>
                <a:gd name="connsiteX4" fmla="*/ 198138 w 198354"/>
                <a:gd name="connsiteY4" fmla="*/ 1345 h 395429"/>
                <a:gd name="connsiteX5" fmla="*/ 198138 w 198354"/>
                <a:gd name="connsiteY5" fmla="*/ 86607 h 395429"/>
                <a:gd name="connsiteX6" fmla="*/ 172427 w 198354"/>
                <a:gd name="connsiteY6" fmla="*/ 83667 h 395429"/>
                <a:gd name="connsiteX7" fmla="*/ 90144 w 198354"/>
                <a:gd name="connsiteY7" fmla="*/ 213004 h 395429"/>
                <a:gd name="connsiteX8" fmla="*/ 90144 w 198354"/>
                <a:gd name="connsiteY8" fmla="*/ 395302 h 395429"/>
                <a:gd name="connsiteX9" fmla="*/ 519 w 198354"/>
                <a:gd name="connsiteY9" fmla="*/ 395302 h 395429"/>
                <a:gd name="connsiteX10" fmla="*/ 519 w 198354"/>
                <a:gd name="connsiteY10" fmla="*/ 78521 h 395429"/>
                <a:gd name="connsiteX11" fmla="*/ -216 w 198354"/>
                <a:gd name="connsiteY11" fmla="*/ 8696 h 39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354" h="395429">
                  <a:moveTo>
                    <a:pt x="84266" y="8696"/>
                  </a:moveTo>
                  <a:lnTo>
                    <a:pt x="84266" y="35155"/>
                  </a:lnTo>
                  <a:cubicBezTo>
                    <a:pt x="84266" y="43998"/>
                    <a:pt x="84266" y="52792"/>
                    <a:pt x="83537" y="60878"/>
                  </a:cubicBezTo>
                  <a:cubicBezTo>
                    <a:pt x="96757" y="21928"/>
                    <a:pt x="132755" y="-125"/>
                    <a:pt x="176835" y="-125"/>
                  </a:cubicBezTo>
                  <a:cubicBezTo>
                    <a:pt x="183962" y="-164"/>
                    <a:pt x="191083" y="328"/>
                    <a:pt x="198138" y="1345"/>
                  </a:cubicBezTo>
                  <a:lnTo>
                    <a:pt x="198138" y="86607"/>
                  </a:lnTo>
                  <a:cubicBezTo>
                    <a:pt x="189752" y="84413"/>
                    <a:pt x="181095" y="83424"/>
                    <a:pt x="172427" y="83667"/>
                  </a:cubicBezTo>
                  <a:cubicBezTo>
                    <a:pt x="102635" y="83667"/>
                    <a:pt x="90144" y="133644"/>
                    <a:pt x="90144" y="213004"/>
                  </a:cubicBezTo>
                  <a:lnTo>
                    <a:pt x="90144" y="395302"/>
                  </a:lnTo>
                  <a:lnTo>
                    <a:pt x="519" y="395302"/>
                  </a:lnTo>
                  <a:lnTo>
                    <a:pt x="519" y="78521"/>
                  </a:lnTo>
                  <a:cubicBezTo>
                    <a:pt x="519" y="54268"/>
                    <a:pt x="519" y="32214"/>
                    <a:pt x="-216" y="8696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F148E3E3-DFB6-45BB-B2F2-14942DCABDD3}"/>
                </a:ext>
              </a:extLst>
            </p:cNvPr>
            <p:cNvSpPr/>
            <p:nvPr/>
          </p:nvSpPr>
          <p:spPr>
            <a:xfrm>
              <a:off x="6632816" y="3280022"/>
              <a:ext cx="403321" cy="410864"/>
            </a:xfrm>
            <a:custGeom>
              <a:avLst/>
              <a:gdLst>
                <a:gd name="connsiteX0" fmla="*/ 403105 w 403321"/>
                <a:gd name="connsiteY0" fmla="*/ 206408 h 410864"/>
                <a:gd name="connsiteX1" fmla="*/ 199608 w 403321"/>
                <a:gd name="connsiteY1" fmla="*/ 410737 h 410864"/>
                <a:gd name="connsiteX2" fmla="*/ -216 w 403321"/>
                <a:gd name="connsiteY2" fmla="*/ 206408 h 410864"/>
                <a:gd name="connsiteX3" fmla="*/ 201078 w 403321"/>
                <a:gd name="connsiteY3" fmla="*/ -128 h 410864"/>
                <a:gd name="connsiteX4" fmla="*/ 403105 w 403321"/>
                <a:gd name="connsiteY4" fmla="*/ 206408 h 410864"/>
                <a:gd name="connsiteX5" fmla="*/ 91614 w 403321"/>
                <a:gd name="connsiteY5" fmla="*/ 205672 h 410864"/>
                <a:gd name="connsiteX6" fmla="*/ 199608 w 403321"/>
                <a:gd name="connsiteY6" fmla="*/ 335766 h 410864"/>
                <a:gd name="connsiteX7" fmla="*/ 308332 w 403321"/>
                <a:gd name="connsiteY7" fmla="*/ 205672 h 410864"/>
                <a:gd name="connsiteX8" fmla="*/ 199608 w 403321"/>
                <a:gd name="connsiteY8" fmla="*/ 74843 h 410864"/>
                <a:gd name="connsiteX9" fmla="*/ 91614 w 403321"/>
                <a:gd name="connsiteY9" fmla="*/ 205672 h 410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321" h="410864">
                  <a:moveTo>
                    <a:pt x="403105" y="206408"/>
                  </a:moveTo>
                  <a:cubicBezTo>
                    <a:pt x="403105" y="325480"/>
                    <a:pt x="324496" y="410737"/>
                    <a:pt x="199608" y="410737"/>
                  </a:cubicBezTo>
                  <a:cubicBezTo>
                    <a:pt x="75449" y="410737"/>
                    <a:pt x="-216" y="324745"/>
                    <a:pt x="-216" y="206408"/>
                  </a:cubicBezTo>
                  <a:cubicBezTo>
                    <a:pt x="-216" y="85135"/>
                    <a:pt x="79857" y="-128"/>
                    <a:pt x="201078" y="-128"/>
                  </a:cubicBezTo>
                  <a:cubicBezTo>
                    <a:pt x="323027" y="-128"/>
                    <a:pt x="403105" y="85141"/>
                    <a:pt x="403105" y="206408"/>
                  </a:cubicBezTo>
                  <a:close/>
                  <a:moveTo>
                    <a:pt x="91614" y="205672"/>
                  </a:moveTo>
                  <a:cubicBezTo>
                    <a:pt x="91614" y="284313"/>
                    <a:pt x="132020" y="335766"/>
                    <a:pt x="199608" y="335766"/>
                  </a:cubicBezTo>
                  <a:cubicBezTo>
                    <a:pt x="267930" y="335766"/>
                    <a:pt x="308332" y="284313"/>
                    <a:pt x="308332" y="205672"/>
                  </a:cubicBezTo>
                  <a:cubicBezTo>
                    <a:pt x="308332" y="129231"/>
                    <a:pt x="267195" y="74843"/>
                    <a:pt x="199608" y="74843"/>
                  </a:cubicBezTo>
                  <a:cubicBezTo>
                    <a:pt x="132749" y="74843"/>
                    <a:pt x="91614" y="129231"/>
                    <a:pt x="91614" y="20567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B8188C7D-62E7-407D-A900-9B8900C05D21}"/>
                </a:ext>
              </a:extLst>
            </p:cNvPr>
            <p:cNvSpPr/>
            <p:nvPr/>
          </p:nvSpPr>
          <p:spPr>
            <a:xfrm>
              <a:off x="5604055" y="1931306"/>
              <a:ext cx="985320" cy="986163"/>
            </a:xfrm>
            <a:custGeom>
              <a:avLst/>
              <a:gdLst>
                <a:gd name="connsiteX0" fmla="*/ 492253 w 985320"/>
                <a:gd name="connsiteY0" fmla="*/ -128 h 986163"/>
                <a:gd name="connsiteX1" fmla="*/ 24625 w 985320"/>
                <a:gd name="connsiteY1" fmla="*/ -128 h 986163"/>
                <a:gd name="connsiteX2" fmla="*/ -213 w 985320"/>
                <a:gd name="connsiteY2" fmla="*/ 25469 h 986163"/>
                <a:gd name="connsiteX3" fmla="*/ 24625 w 985320"/>
                <a:gd name="connsiteY3" fmla="*/ 50319 h 986163"/>
                <a:gd name="connsiteX4" fmla="*/ 467049 w 985320"/>
                <a:gd name="connsiteY4" fmla="*/ 492954 h 986163"/>
                <a:gd name="connsiteX5" fmla="*/ 24625 w 985320"/>
                <a:gd name="connsiteY5" fmla="*/ 935589 h 986163"/>
                <a:gd name="connsiteX6" fmla="*/ -213 w 985320"/>
                <a:gd name="connsiteY6" fmla="*/ 961186 h 986163"/>
                <a:gd name="connsiteX7" fmla="*/ 24625 w 985320"/>
                <a:gd name="connsiteY7" fmla="*/ 986036 h 986163"/>
                <a:gd name="connsiteX8" fmla="*/ 492258 w 985320"/>
                <a:gd name="connsiteY8" fmla="*/ 986036 h 986163"/>
                <a:gd name="connsiteX9" fmla="*/ 985105 w 985320"/>
                <a:gd name="connsiteY9" fmla="*/ 492954 h 986163"/>
                <a:gd name="connsiteX10" fmla="*/ 492258 w 985320"/>
                <a:gd name="connsiteY10" fmla="*/ -128 h 986163"/>
                <a:gd name="connsiteX11" fmla="*/ 409307 w 985320"/>
                <a:gd name="connsiteY11" fmla="*/ 929471 h 986163"/>
                <a:gd name="connsiteX12" fmla="*/ 617130 w 985320"/>
                <a:gd name="connsiteY12" fmla="*/ 264360 h 986163"/>
                <a:gd name="connsiteX13" fmla="*/ 409307 w 985320"/>
                <a:gd name="connsiteY13" fmla="*/ 56438 h 986163"/>
                <a:gd name="connsiteX14" fmla="*/ 772773 w 985320"/>
                <a:gd name="connsiteY14" fmla="*/ 565831 h 986163"/>
                <a:gd name="connsiteX15" fmla="*/ 409307 w 985320"/>
                <a:gd name="connsiteY15" fmla="*/ 929471 h 986163"/>
                <a:gd name="connsiteX16" fmla="*/ 517467 w 985320"/>
                <a:gd name="connsiteY16" fmla="*/ 492954 h 986163"/>
                <a:gd name="connsiteX17" fmla="*/ 253646 w 985320"/>
                <a:gd name="connsiteY17" fmla="*/ 56477 h 986163"/>
                <a:gd name="connsiteX18" fmla="*/ 616843 w 985320"/>
                <a:gd name="connsiteY18" fmla="*/ 566063 h 986163"/>
                <a:gd name="connsiteX19" fmla="*/ 253646 w 985320"/>
                <a:gd name="connsiteY19" fmla="*/ 929432 h 986163"/>
                <a:gd name="connsiteX20" fmla="*/ 517467 w 985320"/>
                <a:gd name="connsiteY20" fmla="*/ 492954 h 986163"/>
                <a:gd name="connsiteX21" fmla="*/ 565182 w 985320"/>
                <a:gd name="connsiteY21" fmla="*/ 929471 h 986163"/>
                <a:gd name="connsiteX22" fmla="*/ 773017 w 985320"/>
                <a:gd name="connsiteY22" fmla="*/ 264371 h 986163"/>
                <a:gd name="connsiteX23" fmla="*/ 565182 w 985320"/>
                <a:gd name="connsiteY23" fmla="*/ 56438 h 986163"/>
                <a:gd name="connsiteX24" fmla="*/ 928649 w 985320"/>
                <a:gd name="connsiteY24" fmla="*/ 565831 h 986163"/>
                <a:gd name="connsiteX25" fmla="*/ 565182 w 985320"/>
                <a:gd name="connsiteY25" fmla="*/ 929471 h 98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85320" h="986163">
                  <a:moveTo>
                    <a:pt x="492253" y="-128"/>
                  </a:moveTo>
                  <a:lnTo>
                    <a:pt x="24625" y="-128"/>
                  </a:lnTo>
                  <a:cubicBezTo>
                    <a:pt x="10704" y="77"/>
                    <a:pt x="-417" y="11540"/>
                    <a:pt x="-213" y="25469"/>
                  </a:cubicBezTo>
                  <a:cubicBezTo>
                    <a:pt x="-9" y="39110"/>
                    <a:pt x="10991" y="50115"/>
                    <a:pt x="24625" y="50319"/>
                  </a:cubicBezTo>
                  <a:cubicBezTo>
                    <a:pt x="268972" y="50319"/>
                    <a:pt x="467049" y="248492"/>
                    <a:pt x="467049" y="492954"/>
                  </a:cubicBezTo>
                  <a:cubicBezTo>
                    <a:pt x="467049" y="737417"/>
                    <a:pt x="268972" y="935589"/>
                    <a:pt x="24625" y="935589"/>
                  </a:cubicBezTo>
                  <a:cubicBezTo>
                    <a:pt x="10704" y="935794"/>
                    <a:pt x="-417" y="947257"/>
                    <a:pt x="-213" y="961186"/>
                  </a:cubicBezTo>
                  <a:cubicBezTo>
                    <a:pt x="-9" y="974827"/>
                    <a:pt x="10991" y="985832"/>
                    <a:pt x="24625" y="986036"/>
                  </a:cubicBezTo>
                  <a:lnTo>
                    <a:pt x="492258" y="986036"/>
                  </a:lnTo>
                  <a:cubicBezTo>
                    <a:pt x="764448" y="986036"/>
                    <a:pt x="985105" y="765274"/>
                    <a:pt x="985105" y="492954"/>
                  </a:cubicBezTo>
                  <a:cubicBezTo>
                    <a:pt x="985105" y="220635"/>
                    <a:pt x="764448" y="-128"/>
                    <a:pt x="492258" y="-128"/>
                  </a:cubicBezTo>
                  <a:close/>
                  <a:moveTo>
                    <a:pt x="409307" y="929471"/>
                  </a:moveTo>
                  <a:cubicBezTo>
                    <a:pt x="650272" y="803219"/>
                    <a:pt x="743317" y="505440"/>
                    <a:pt x="617130" y="264360"/>
                  </a:cubicBezTo>
                  <a:cubicBezTo>
                    <a:pt x="570619" y="175505"/>
                    <a:pt x="498120" y="102966"/>
                    <a:pt x="409307" y="56438"/>
                  </a:cubicBezTo>
                  <a:cubicBezTo>
                    <a:pt x="650272" y="96687"/>
                    <a:pt x="813003" y="324745"/>
                    <a:pt x="772773" y="565831"/>
                  </a:cubicBezTo>
                  <a:cubicBezTo>
                    <a:pt x="741665" y="752258"/>
                    <a:pt x="595650" y="898347"/>
                    <a:pt x="409307" y="929471"/>
                  </a:cubicBezTo>
                  <a:close/>
                  <a:moveTo>
                    <a:pt x="517467" y="492954"/>
                  </a:moveTo>
                  <a:cubicBezTo>
                    <a:pt x="517323" y="309750"/>
                    <a:pt x="415748" y="141695"/>
                    <a:pt x="253646" y="56477"/>
                  </a:cubicBezTo>
                  <a:cubicBezTo>
                    <a:pt x="494590" y="96853"/>
                    <a:pt x="657200" y="324999"/>
                    <a:pt x="616843" y="566063"/>
                  </a:cubicBezTo>
                  <a:cubicBezTo>
                    <a:pt x="585668" y="752302"/>
                    <a:pt x="439802" y="898237"/>
                    <a:pt x="253646" y="929432"/>
                  </a:cubicBezTo>
                  <a:cubicBezTo>
                    <a:pt x="415748" y="844214"/>
                    <a:pt x="517323" y="676159"/>
                    <a:pt x="517467" y="492954"/>
                  </a:cubicBezTo>
                  <a:close/>
                  <a:moveTo>
                    <a:pt x="565182" y="929471"/>
                  </a:moveTo>
                  <a:cubicBezTo>
                    <a:pt x="806147" y="803230"/>
                    <a:pt x="899198" y="505451"/>
                    <a:pt x="773017" y="264371"/>
                  </a:cubicBezTo>
                  <a:cubicBezTo>
                    <a:pt x="726505" y="175510"/>
                    <a:pt x="654001" y="102971"/>
                    <a:pt x="565182" y="56438"/>
                  </a:cubicBezTo>
                  <a:cubicBezTo>
                    <a:pt x="806147" y="96687"/>
                    <a:pt x="968879" y="324745"/>
                    <a:pt x="928649" y="565831"/>
                  </a:cubicBezTo>
                  <a:cubicBezTo>
                    <a:pt x="897540" y="752258"/>
                    <a:pt x="751526" y="898347"/>
                    <a:pt x="565182" y="92947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3D32DB43-D483-403F-B649-28618EBCE130}"/>
                </a:ext>
              </a:extLst>
            </p:cNvPr>
            <p:cNvSpPr/>
            <p:nvPr/>
          </p:nvSpPr>
          <p:spPr>
            <a:xfrm>
              <a:off x="4963463" y="4297995"/>
              <a:ext cx="59582" cy="174106"/>
            </a:xfrm>
            <a:custGeom>
              <a:avLst/>
              <a:gdLst>
                <a:gd name="connsiteX0" fmla="*/ -216 w 59582"/>
                <a:gd name="connsiteY0" fmla="*/ 173979 h 174106"/>
                <a:gd name="connsiteX1" fmla="*/ 36219 w 59582"/>
                <a:gd name="connsiteY1" fmla="*/ -128 h 174106"/>
                <a:gd name="connsiteX2" fmla="*/ 59367 w 59582"/>
                <a:gd name="connsiteY2" fmla="*/ -128 h 174106"/>
                <a:gd name="connsiteX3" fmla="*/ 23043 w 59582"/>
                <a:gd name="connsiteY3" fmla="*/ 173979 h 174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82" h="174106">
                  <a:moveTo>
                    <a:pt x="-216" y="173979"/>
                  </a:moveTo>
                  <a:lnTo>
                    <a:pt x="36219" y="-128"/>
                  </a:lnTo>
                  <a:lnTo>
                    <a:pt x="59367" y="-128"/>
                  </a:lnTo>
                  <a:lnTo>
                    <a:pt x="23043" y="173979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25459BCC-9891-4CAD-8055-922F30FE07BE}"/>
                </a:ext>
              </a:extLst>
            </p:cNvPr>
            <p:cNvSpPr/>
            <p:nvPr/>
          </p:nvSpPr>
          <p:spPr>
            <a:xfrm>
              <a:off x="5023957" y="4343085"/>
              <a:ext cx="120284" cy="129016"/>
            </a:xfrm>
            <a:custGeom>
              <a:avLst/>
              <a:gdLst>
                <a:gd name="connsiteX0" fmla="*/ -216 w 120284"/>
                <a:gd name="connsiteY0" fmla="*/ 128889 h 129016"/>
                <a:gd name="connsiteX1" fmla="*/ 26136 w 120284"/>
                <a:gd name="connsiteY1" fmla="*/ 2780 h 129016"/>
                <a:gd name="connsiteX2" fmla="*/ 45599 w 120284"/>
                <a:gd name="connsiteY2" fmla="*/ 2780 h 129016"/>
                <a:gd name="connsiteX3" fmla="*/ 40970 w 120284"/>
                <a:gd name="connsiteY3" fmla="*/ 24751 h 129016"/>
                <a:gd name="connsiteX4" fmla="*/ 64725 w 120284"/>
                <a:gd name="connsiteY4" fmla="*/ 5864 h 129016"/>
                <a:gd name="connsiteX5" fmla="*/ 87277 w 120284"/>
                <a:gd name="connsiteY5" fmla="*/ -72 h 129016"/>
                <a:gd name="connsiteX6" fmla="*/ 111314 w 120284"/>
                <a:gd name="connsiteY6" fmla="*/ 8219 h 129016"/>
                <a:gd name="connsiteX7" fmla="*/ 120037 w 120284"/>
                <a:gd name="connsiteY7" fmla="*/ 30427 h 129016"/>
                <a:gd name="connsiteX8" fmla="*/ 116949 w 120284"/>
                <a:gd name="connsiteY8" fmla="*/ 52536 h 129016"/>
                <a:gd name="connsiteX9" fmla="*/ 100928 w 120284"/>
                <a:gd name="connsiteY9" fmla="*/ 128889 h 129016"/>
                <a:gd name="connsiteX10" fmla="*/ 79443 w 120284"/>
                <a:gd name="connsiteY10" fmla="*/ 128889 h 129016"/>
                <a:gd name="connsiteX11" fmla="*/ 96182 w 120284"/>
                <a:gd name="connsiteY11" fmla="*/ 48971 h 129016"/>
                <a:gd name="connsiteX12" fmla="*/ 98674 w 120284"/>
                <a:gd name="connsiteY12" fmla="*/ 31754 h 129016"/>
                <a:gd name="connsiteX13" fmla="*/ 94343 w 120284"/>
                <a:gd name="connsiteY13" fmla="*/ 21540 h 129016"/>
                <a:gd name="connsiteX14" fmla="*/ 81818 w 120284"/>
                <a:gd name="connsiteY14" fmla="*/ 17621 h 129016"/>
                <a:gd name="connsiteX15" fmla="*/ 52444 w 120284"/>
                <a:gd name="connsiteY15" fmla="*/ 29499 h 129016"/>
                <a:gd name="connsiteX16" fmla="*/ 33512 w 120284"/>
                <a:gd name="connsiteY16" fmla="*/ 70229 h 129016"/>
                <a:gd name="connsiteX17" fmla="*/ 21286 w 120284"/>
                <a:gd name="connsiteY17" fmla="*/ 128889 h 12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284" h="129016">
                  <a:moveTo>
                    <a:pt x="-216" y="128889"/>
                  </a:moveTo>
                  <a:lnTo>
                    <a:pt x="26136" y="2780"/>
                  </a:lnTo>
                  <a:lnTo>
                    <a:pt x="45599" y="2780"/>
                  </a:lnTo>
                  <a:lnTo>
                    <a:pt x="40970" y="24751"/>
                  </a:lnTo>
                  <a:cubicBezTo>
                    <a:pt x="47914" y="17322"/>
                    <a:pt x="55919" y="10955"/>
                    <a:pt x="64725" y="5864"/>
                  </a:cubicBezTo>
                  <a:cubicBezTo>
                    <a:pt x="71626" y="2029"/>
                    <a:pt x="79382" y="-11"/>
                    <a:pt x="87277" y="-72"/>
                  </a:cubicBezTo>
                  <a:cubicBezTo>
                    <a:pt x="96066" y="-580"/>
                    <a:pt x="104707" y="2399"/>
                    <a:pt x="111314" y="8219"/>
                  </a:cubicBezTo>
                  <a:cubicBezTo>
                    <a:pt x="117247" y="14045"/>
                    <a:pt x="120419" y="22120"/>
                    <a:pt x="120037" y="30427"/>
                  </a:cubicBezTo>
                  <a:cubicBezTo>
                    <a:pt x="119673" y="37873"/>
                    <a:pt x="118640" y="45273"/>
                    <a:pt x="116949" y="52536"/>
                  </a:cubicBezTo>
                  <a:lnTo>
                    <a:pt x="100928" y="128889"/>
                  </a:lnTo>
                  <a:lnTo>
                    <a:pt x="79443" y="128889"/>
                  </a:lnTo>
                  <a:lnTo>
                    <a:pt x="96182" y="48971"/>
                  </a:lnTo>
                  <a:cubicBezTo>
                    <a:pt x="97552" y="43323"/>
                    <a:pt x="98387" y="37557"/>
                    <a:pt x="98674" y="31754"/>
                  </a:cubicBezTo>
                  <a:cubicBezTo>
                    <a:pt x="98806" y="27874"/>
                    <a:pt x="97221" y="24138"/>
                    <a:pt x="94343" y="21540"/>
                  </a:cubicBezTo>
                  <a:cubicBezTo>
                    <a:pt x="90807" y="18710"/>
                    <a:pt x="86338" y="17311"/>
                    <a:pt x="81818" y="17621"/>
                  </a:cubicBezTo>
                  <a:cubicBezTo>
                    <a:pt x="70858" y="17604"/>
                    <a:pt x="60317" y="21866"/>
                    <a:pt x="52444" y="29499"/>
                  </a:cubicBezTo>
                  <a:cubicBezTo>
                    <a:pt x="43854" y="37419"/>
                    <a:pt x="37539" y="50994"/>
                    <a:pt x="33512" y="70229"/>
                  </a:cubicBezTo>
                  <a:lnTo>
                    <a:pt x="21286" y="128889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67D74C1C-BF0C-4BA4-8835-1C879418E42B}"/>
                </a:ext>
              </a:extLst>
            </p:cNvPr>
            <p:cNvSpPr/>
            <p:nvPr/>
          </p:nvSpPr>
          <p:spPr>
            <a:xfrm>
              <a:off x="5162699" y="4297973"/>
              <a:ext cx="132585" cy="176988"/>
            </a:xfrm>
            <a:custGeom>
              <a:avLst/>
              <a:gdLst>
                <a:gd name="connsiteX0" fmla="*/ 80008 w 132585"/>
                <a:gd name="connsiteY0" fmla="*/ 155717 h 176988"/>
                <a:gd name="connsiteX1" fmla="*/ 41551 w 132585"/>
                <a:gd name="connsiteY1" fmla="*/ 176853 h 176988"/>
                <a:gd name="connsiteX2" fmla="*/ 11719 w 132585"/>
                <a:gd name="connsiteY2" fmla="*/ 163588 h 176988"/>
                <a:gd name="connsiteX3" fmla="*/ -209 w 132585"/>
                <a:gd name="connsiteY3" fmla="*/ 125174 h 176988"/>
                <a:gd name="connsiteX4" fmla="*/ 9227 w 132585"/>
                <a:gd name="connsiteY4" fmla="*/ 83079 h 176988"/>
                <a:gd name="connsiteX5" fmla="*/ 32845 w 132585"/>
                <a:gd name="connsiteY5" fmla="*/ 54520 h 176988"/>
                <a:gd name="connsiteX6" fmla="*/ 61268 w 132585"/>
                <a:gd name="connsiteY6" fmla="*/ 45018 h 176988"/>
                <a:gd name="connsiteX7" fmla="*/ 96758 w 132585"/>
                <a:gd name="connsiteY7" fmla="*/ 67680 h 176988"/>
                <a:gd name="connsiteX8" fmla="*/ 111001 w 132585"/>
                <a:gd name="connsiteY8" fmla="*/ -128 h 176988"/>
                <a:gd name="connsiteX9" fmla="*/ 132370 w 132585"/>
                <a:gd name="connsiteY9" fmla="*/ -128 h 176988"/>
                <a:gd name="connsiteX10" fmla="*/ 96046 w 132585"/>
                <a:gd name="connsiteY10" fmla="*/ 173979 h 176988"/>
                <a:gd name="connsiteX11" fmla="*/ 76229 w 132585"/>
                <a:gd name="connsiteY11" fmla="*/ 173979 h 176988"/>
                <a:gd name="connsiteX12" fmla="*/ 21138 w 132585"/>
                <a:gd name="connsiteY12" fmla="*/ 121161 h 176988"/>
                <a:gd name="connsiteX13" fmla="*/ 23746 w 132585"/>
                <a:gd name="connsiteY13" fmla="*/ 141944 h 176988"/>
                <a:gd name="connsiteX14" fmla="*/ 32651 w 132585"/>
                <a:gd name="connsiteY14" fmla="*/ 154590 h 176988"/>
                <a:gd name="connsiteX15" fmla="*/ 47722 w 132585"/>
                <a:gd name="connsiteY15" fmla="*/ 159636 h 176988"/>
                <a:gd name="connsiteX16" fmla="*/ 74190 w 132585"/>
                <a:gd name="connsiteY16" fmla="*/ 144436 h 176988"/>
                <a:gd name="connsiteX17" fmla="*/ 90096 w 132585"/>
                <a:gd name="connsiteY17" fmla="*/ 94559 h 176988"/>
                <a:gd name="connsiteX18" fmla="*/ 82262 w 132585"/>
                <a:gd name="connsiteY18" fmla="*/ 71168 h 176988"/>
                <a:gd name="connsiteX19" fmla="*/ 62561 w 132585"/>
                <a:gd name="connsiteY19" fmla="*/ 62733 h 176988"/>
                <a:gd name="connsiteX20" fmla="*/ 48496 w 132585"/>
                <a:gd name="connsiteY20" fmla="*/ 66177 h 176988"/>
                <a:gd name="connsiteX21" fmla="*/ 35916 w 132585"/>
                <a:gd name="connsiteY21" fmla="*/ 77878 h 176988"/>
                <a:gd name="connsiteX22" fmla="*/ 25419 w 132585"/>
                <a:gd name="connsiteY22" fmla="*/ 98837 h 176988"/>
                <a:gd name="connsiteX23" fmla="*/ 21138 w 132585"/>
                <a:gd name="connsiteY23" fmla="*/ 121161 h 17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2585" h="176988">
                  <a:moveTo>
                    <a:pt x="80008" y="155717"/>
                  </a:moveTo>
                  <a:cubicBezTo>
                    <a:pt x="67743" y="169806"/>
                    <a:pt x="54926" y="176848"/>
                    <a:pt x="41551" y="176853"/>
                  </a:cubicBezTo>
                  <a:cubicBezTo>
                    <a:pt x="30132" y="177080"/>
                    <a:pt x="19204" y="172222"/>
                    <a:pt x="11719" y="163588"/>
                  </a:cubicBezTo>
                  <a:cubicBezTo>
                    <a:pt x="3763" y="154767"/>
                    <a:pt x="-214" y="141960"/>
                    <a:pt x="-209" y="125174"/>
                  </a:cubicBezTo>
                  <a:cubicBezTo>
                    <a:pt x="-386" y="110599"/>
                    <a:pt x="2846" y="96184"/>
                    <a:pt x="9227" y="83079"/>
                  </a:cubicBezTo>
                  <a:cubicBezTo>
                    <a:pt x="14448" y="71643"/>
                    <a:pt x="22596" y="61794"/>
                    <a:pt x="32845" y="54520"/>
                  </a:cubicBezTo>
                  <a:cubicBezTo>
                    <a:pt x="41148" y="48561"/>
                    <a:pt x="51054" y="45251"/>
                    <a:pt x="61268" y="45018"/>
                  </a:cubicBezTo>
                  <a:cubicBezTo>
                    <a:pt x="76566" y="44775"/>
                    <a:pt x="90538" y="53696"/>
                    <a:pt x="96758" y="67680"/>
                  </a:cubicBezTo>
                  <a:lnTo>
                    <a:pt x="111001" y="-128"/>
                  </a:lnTo>
                  <a:lnTo>
                    <a:pt x="132370" y="-128"/>
                  </a:lnTo>
                  <a:lnTo>
                    <a:pt x="96046" y="173979"/>
                  </a:lnTo>
                  <a:lnTo>
                    <a:pt x="76229" y="173979"/>
                  </a:lnTo>
                  <a:close/>
                  <a:moveTo>
                    <a:pt x="21138" y="121161"/>
                  </a:moveTo>
                  <a:cubicBezTo>
                    <a:pt x="20900" y="128181"/>
                    <a:pt x="21779" y="135201"/>
                    <a:pt x="23746" y="141944"/>
                  </a:cubicBezTo>
                  <a:cubicBezTo>
                    <a:pt x="25431" y="146929"/>
                    <a:pt x="28524" y="151323"/>
                    <a:pt x="32651" y="154590"/>
                  </a:cubicBezTo>
                  <a:cubicBezTo>
                    <a:pt x="36927" y="157983"/>
                    <a:pt x="42264" y="159769"/>
                    <a:pt x="47722" y="159636"/>
                  </a:cubicBezTo>
                  <a:cubicBezTo>
                    <a:pt x="57456" y="159636"/>
                    <a:pt x="66279" y="154568"/>
                    <a:pt x="74190" y="144436"/>
                  </a:cubicBezTo>
                  <a:cubicBezTo>
                    <a:pt x="85068" y="130138"/>
                    <a:pt x="90687" y="112522"/>
                    <a:pt x="90096" y="94559"/>
                  </a:cubicBezTo>
                  <a:cubicBezTo>
                    <a:pt x="90604" y="86041"/>
                    <a:pt x="87797" y="77662"/>
                    <a:pt x="82262" y="71168"/>
                  </a:cubicBezTo>
                  <a:cubicBezTo>
                    <a:pt x="77229" y="65629"/>
                    <a:pt x="70042" y="62551"/>
                    <a:pt x="62561" y="62733"/>
                  </a:cubicBezTo>
                  <a:cubicBezTo>
                    <a:pt x="57655" y="62673"/>
                    <a:pt x="52816" y="63861"/>
                    <a:pt x="48496" y="66177"/>
                  </a:cubicBezTo>
                  <a:cubicBezTo>
                    <a:pt x="43529" y="69150"/>
                    <a:pt x="39242" y="73136"/>
                    <a:pt x="35916" y="77878"/>
                  </a:cubicBezTo>
                  <a:cubicBezTo>
                    <a:pt x="31320" y="84256"/>
                    <a:pt x="27778" y="91336"/>
                    <a:pt x="25419" y="98837"/>
                  </a:cubicBezTo>
                  <a:cubicBezTo>
                    <a:pt x="22812" y="106000"/>
                    <a:pt x="21365" y="113539"/>
                    <a:pt x="21138" y="12116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73F43A01-EA14-4D92-B3AE-4EB269886131}"/>
                </a:ext>
              </a:extLst>
            </p:cNvPr>
            <p:cNvSpPr/>
            <p:nvPr/>
          </p:nvSpPr>
          <p:spPr>
            <a:xfrm>
              <a:off x="5299038" y="4345993"/>
              <a:ext cx="120372" cy="128994"/>
            </a:xfrm>
            <a:custGeom>
              <a:avLst/>
              <a:gdLst>
                <a:gd name="connsiteX0" fmla="*/ 78711 w 120372"/>
                <a:gd name="connsiteY0" fmla="*/ 103181 h 128994"/>
                <a:gd name="connsiteX1" fmla="*/ 32305 w 120372"/>
                <a:gd name="connsiteY1" fmla="*/ 128833 h 128994"/>
                <a:gd name="connsiteX2" fmla="*/ 8748 w 120372"/>
                <a:gd name="connsiteY2" fmla="*/ 120460 h 128994"/>
                <a:gd name="connsiteX3" fmla="*/ -213 w 120372"/>
                <a:gd name="connsiteY3" fmla="*/ 99976 h 128994"/>
                <a:gd name="connsiteX4" fmla="*/ 3820 w 120372"/>
                <a:gd name="connsiteY4" fmla="*/ 72666 h 128994"/>
                <a:gd name="connsiteX5" fmla="*/ 19013 w 120372"/>
                <a:gd name="connsiteY5" fmla="*/ -128 h 128994"/>
                <a:gd name="connsiteX6" fmla="*/ 40498 w 120372"/>
                <a:gd name="connsiteY6" fmla="*/ -128 h 128994"/>
                <a:gd name="connsiteX7" fmla="*/ 23637 w 120372"/>
                <a:gd name="connsiteY7" fmla="*/ 80503 h 128994"/>
                <a:gd name="connsiteX8" fmla="*/ 21499 w 120372"/>
                <a:gd name="connsiteY8" fmla="*/ 96179 h 128994"/>
                <a:gd name="connsiteX9" fmla="*/ 25836 w 120372"/>
                <a:gd name="connsiteY9" fmla="*/ 107277 h 128994"/>
                <a:gd name="connsiteX10" fmla="*/ 38592 w 120372"/>
                <a:gd name="connsiteY10" fmla="*/ 111257 h 128994"/>
                <a:gd name="connsiteX11" fmla="*/ 56221 w 120372"/>
                <a:gd name="connsiteY11" fmla="*/ 106863 h 128994"/>
                <a:gd name="connsiteX12" fmla="*/ 71054 w 120372"/>
                <a:gd name="connsiteY12" fmla="*/ 94990 h 128994"/>
                <a:gd name="connsiteX13" fmla="*/ 81203 w 120372"/>
                <a:gd name="connsiteY13" fmla="*/ 77303 h 128994"/>
                <a:gd name="connsiteX14" fmla="*/ 87280 w 120372"/>
                <a:gd name="connsiteY14" fmla="*/ 54382 h 128994"/>
                <a:gd name="connsiteX15" fmla="*/ 98672 w 120372"/>
                <a:gd name="connsiteY15" fmla="*/ -122 h 128994"/>
                <a:gd name="connsiteX16" fmla="*/ 120157 w 120372"/>
                <a:gd name="connsiteY16" fmla="*/ -122 h 128994"/>
                <a:gd name="connsiteX17" fmla="*/ 93805 w 120372"/>
                <a:gd name="connsiteY17" fmla="*/ 125987 h 128994"/>
                <a:gd name="connsiteX18" fmla="*/ 73982 w 120372"/>
                <a:gd name="connsiteY18" fmla="*/ 125987 h 1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0372" h="128994">
                  <a:moveTo>
                    <a:pt x="78711" y="103181"/>
                  </a:moveTo>
                  <a:cubicBezTo>
                    <a:pt x="63613" y="120282"/>
                    <a:pt x="48144" y="128833"/>
                    <a:pt x="32305" y="128833"/>
                  </a:cubicBezTo>
                  <a:cubicBezTo>
                    <a:pt x="23659" y="129226"/>
                    <a:pt x="15207" y="126219"/>
                    <a:pt x="8748" y="120460"/>
                  </a:cubicBezTo>
                  <a:cubicBezTo>
                    <a:pt x="2936" y="115253"/>
                    <a:pt x="-334" y="107780"/>
                    <a:pt x="-213" y="99976"/>
                  </a:cubicBezTo>
                  <a:cubicBezTo>
                    <a:pt x="323" y="90773"/>
                    <a:pt x="1677" y="81631"/>
                    <a:pt x="3820" y="72666"/>
                  </a:cubicBezTo>
                  <a:lnTo>
                    <a:pt x="19013" y="-128"/>
                  </a:lnTo>
                  <a:lnTo>
                    <a:pt x="40498" y="-128"/>
                  </a:lnTo>
                  <a:lnTo>
                    <a:pt x="23637" y="80503"/>
                  </a:lnTo>
                  <a:cubicBezTo>
                    <a:pt x="22416" y="85649"/>
                    <a:pt x="21698" y="90895"/>
                    <a:pt x="21499" y="96179"/>
                  </a:cubicBezTo>
                  <a:cubicBezTo>
                    <a:pt x="21262" y="100335"/>
                    <a:pt x="22847" y="104386"/>
                    <a:pt x="25836" y="107277"/>
                  </a:cubicBezTo>
                  <a:cubicBezTo>
                    <a:pt x="29432" y="110173"/>
                    <a:pt x="33990" y="111594"/>
                    <a:pt x="38592" y="111257"/>
                  </a:cubicBezTo>
                  <a:cubicBezTo>
                    <a:pt x="44735" y="111229"/>
                    <a:pt x="50779" y="109720"/>
                    <a:pt x="56221" y="106863"/>
                  </a:cubicBezTo>
                  <a:cubicBezTo>
                    <a:pt x="61922" y="103961"/>
                    <a:pt x="66972" y="99920"/>
                    <a:pt x="71054" y="94990"/>
                  </a:cubicBezTo>
                  <a:cubicBezTo>
                    <a:pt x="75386" y="89695"/>
                    <a:pt x="78816" y="83715"/>
                    <a:pt x="81203" y="77303"/>
                  </a:cubicBezTo>
                  <a:cubicBezTo>
                    <a:pt x="83800" y="69825"/>
                    <a:pt x="85833" y="62164"/>
                    <a:pt x="87280" y="54382"/>
                  </a:cubicBezTo>
                  <a:lnTo>
                    <a:pt x="98672" y="-122"/>
                  </a:lnTo>
                  <a:lnTo>
                    <a:pt x="120157" y="-122"/>
                  </a:lnTo>
                  <a:lnTo>
                    <a:pt x="93805" y="125987"/>
                  </a:lnTo>
                  <a:lnTo>
                    <a:pt x="73982" y="125987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A4D1A149-36AB-4CED-B36B-03CAA20958DE}"/>
                </a:ext>
              </a:extLst>
            </p:cNvPr>
            <p:cNvSpPr/>
            <p:nvPr/>
          </p:nvSpPr>
          <p:spPr>
            <a:xfrm>
              <a:off x="5427864" y="4343050"/>
              <a:ext cx="111839" cy="131960"/>
            </a:xfrm>
            <a:custGeom>
              <a:avLst/>
              <a:gdLst>
                <a:gd name="connsiteX0" fmla="*/ -172 w 111839"/>
                <a:gd name="connsiteY0" fmla="*/ 85823 h 131960"/>
                <a:gd name="connsiteX1" fmla="*/ 21313 w 111839"/>
                <a:gd name="connsiteY1" fmla="*/ 84513 h 131960"/>
                <a:gd name="connsiteX2" fmla="*/ 24158 w 111839"/>
                <a:gd name="connsiteY2" fmla="*/ 100309 h 131960"/>
                <a:gd name="connsiteX3" fmla="*/ 34654 w 111839"/>
                <a:gd name="connsiteY3" fmla="*/ 110994 h 131960"/>
                <a:gd name="connsiteX4" fmla="*/ 52515 w 111839"/>
                <a:gd name="connsiteY4" fmla="*/ 115150 h 131960"/>
                <a:gd name="connsiteX5" fmla="*/ 73879 w 111839"/>
                <a:gd name="connsiteY5" fmla="*/ 109451 h 131960"/>
                <a:gd name="connsiteX6" fmla="*/ 81000 w 111839"/>
                <a:gd name="connsiteY6" fmla="*/ 96031 h 131960"/>
                <a:gd name="connsiteX7" fmla="*/ 76729 w 111839"/>
                <a:gd name="connsiteY7" fmla="*/ 85464 h 131960"/>
                <a:gd name="connsiteX8" fmla="*/ 55305 w 111839"/>
                <a:gd name="connsiteY8" fmla="*/ 73171 h 131960"/>
                <a:gd name="connsiteX9" fmla="*/ 33522 w 111839"/>
                <a:gd name="connsiteY9" fmla="*/ 62901 h 131960"/>
                <a:gd name="connsiteX10" fmla="*/ 21539 w 111839"/>
                <a:gd name="connsiteY10" fmla="*/ 51443 h 131960"/>
                <a:gd name="connsiteX11" fmla="*/ 17501 w 111839"/>
                <a:gd name="connsiteY11" fmla="*/ 36299 h 131960"/>
                <a:gd name="connsiteX12" fmla="*/ 29373 w 111839"/>
                <a:gd name="connsiteY12" fmla="*/ 10653 h 131960"/>
                <a:gd name="connsiteX13" fmla="*/ 62603 w 111839"/>
                <a:gd name="connsiteY13" fmla="*/ -37 h 131960"/>
                <a:gd name="connsiteX14" fmla="*/ 98745 w 111839"/>
                <a:gd name="connsiteY14" fmla="*/ 10951 h 131960"/>
                <a:gd name="connsiteX15" fmla="*/ 111623 w 111839"/>
                <a:gd name="connsiteY15" fmla="*/ 39864 h 131960"/>
                <a:gd name="connsiteX16" fmla="*/ 90629 w 111839"/>
                <a:gd name="connsiteY16" fmla="*/ 41290 h 131960"/>
                <a:gd name="connsiteX17" fmla="*/ 82563 w 111839"/>
                <a:gd name="connsiteY17" fmla="*/ 23238 h 131960"/>
                <a:gd name="connsiteX18" fmla="*/ 61078 w 111839"/>
                <a:gd name="connsiteY18" fmla="*/ 16606 h 131960"/>
                <a:gd name="connsiteX19" fmla="*/ 43748 w 111839"/>
                <a:gd name="connsiteY19" fmla="*/ 21713 h 131960"/>
                <a:gd name="connsiteX20" fmla="*/ 37577 w 111839"/>
                <a:gd name="connsiteY20" fmla="*/ 32767 h 131960"/>
                <a:gd name="connsiteX21" fmla="*/ 42919 w 111839"/>
                <a:gd name="connsiteY21" fmla="*/ 43219 h 131960"/>
                <a:gd name="connsiteX22" fmla="*/ 61316 w 111839"/>
                <a:gd name="connsiteY22" fmla="*/ 52715 h 131960"/>
                <a:gd name="connsiteX23" fmla="*/ 92414 w 111839"/>
                <a:gd name="connsiteY23" fmla="*/ 69578 h 131960"/>
                <a:gd name="connsiteX24" fmla="*/ 102618 w 111839"/>
                <a:gd name="connsiteY24" fmla="*/ 93566 h 131960"/>
                <a:gd name="connsiteX25" fmla="*/ 96861 w 111839"/>
                <a:gd name="connsiteY25" fmla="*/ 111972 h 131960"/>
                <a:gd name="connsiteX26" fmla="*/ 79298 w 111839"/>
                <a:gd name="connsiteY26" fmla="*/ 126398 h 131960"/>
                <a:gd name="connsiteX27" fmla="*/ 51466 w 111839"/>
                <a:gd name="connsiteY27" fmla="*/ 131803 h 131960"/>
                <a:gd name="connsiteX28" fmla="*/ 14313 w 111839"/>
                <a:gd name="connsiteY28" fmla="*/ 120998 h 131960"/>
                <a:gd name="connsiteX29" fmla="*/ -172 w 111839"/>
                <a:gd name="connsiteY29" fmla="*/ 85823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1839" h="131960">
                  <a:moveTo>
                    <a:pt x="-172" y="85823"/>
                  </a:moveTo>
                  <a:lnTo>
                    <a:pt x="21313" y="84513"/>
                  </a:lnTo>
                  <a:cubicBezTo>
                    <a:pt x="21169" y="89918"/>
                    <a:pt x="22136" y="95296"/>
                    <a:pt x="24158" y="100309"/>
                  </a:cubicBezTo>
                  <a:cubicBezTo>
                    <a:pt x="26340" y="104958"/>
                    <a:pt x="30041" y="108727"/>
                    <a:pt x="34654" y="110994"/>
                  </a:cubicBezTo>
                  <a:cubicBezTo>
                    <a:pt x="40162" y="113862"/>
                    <a:pt x="46306" y="115294"/>
                    <a:pt x="52515" y="115150"/>
                  </a:cubicBezTo>
                  <a:cubicBezTo>
                    <a:pt x="60073" y="115703"/>
                    <a:pt x="67597" y="113696"/>
                    <a:pt x="73879" y="109451"/>
                  </a:cubicBezTo>
                  <a:cubicBezTo>
                    <a:pt x="78254" y="106367"/>
                    <a:pt x="80900" y="101387"/>
                    <a:pt x="81000" y="96031"/>
                  </a:cubicBezTo>
                  <a:cubicBezTo>
                    <a:pt x="80917" y="92102"/>
                    <a:pt x="79398" y="88343"/>
                    <a:pt x="76729" y="85464"/>
                  </a:cubicBezTo>
                  <a:cubicBezTo>
                    <a:pt x="70404" y="80085"/>
                    <a:pt x="63139" y="75918"/>
                    <a:pt x="55305" y="73171"/>
                  </a:cubicBezTo>
                  <a:cubicBezTo>
                    <a:pt x="47847" y="70181"/>
                    <a:pt x="40571" y="66754"/>
                    <a:pt x="33522" y="62901"/>
                  </a:cubicBezTo>
                  <a:cubicBezTo>
                    <a:pt x="28671" y="60094"/>
                    <a:pt x="24561" y="56164"/>
                    <a:pt x="21539" y="51443"/>
                  </a:cubicBezTo>
                  <a:cubicBezTo>
                    <a:pt x="18799" y="46878"/>
                    <a:pt x="17396" y="41627"/>
                    <a:pt x="17501" y="36299"/>
                  </a:cubicBezTo>
                  <a:cubicBezTo>
                    <a:pt x="17462" y="26411"/>
                    <a:pt x="21810" y="17014"/>
                    <a:pt x="29373" y="10653"/>
                  </a:cubicBezTo>
                  <a:cubicBezTo>
                    <a:pt x="38715" y="3036"/>
                    <a:pt x="50576" y="-778"/>
                    <a:pt x="62603" y="-37"/>
                  </a:cubicBezTo>
                  <a:cubicBezTo>
                    <a:pt x="78442" y="-37"/>
                    <a:pt x="90486" y="3628"/>
                    <a:pt x="98745" y="10951"/>
                  </a:cubicBezTo>
                  <a:cubicBezTo>
                    <a:pt x="107015" y="18269"/>
                    <a:pt x="111711" y="28815"/>
                    <a:pt x="111623" y="39864"/>
                  </a:cubicBezTo>
                  <a:lnTo>
                    <a:pt x="90629" y="41290"/>
                  </a:lnTo>
                  <a:cubicBezTo>
                    <a:pt x="90635" y="34398"/>
                    <a:pt x="87701" y="27831"/>
                    <a:pt x="82563" y="23238"/>
                  </a:cubicBezTo>
                  <a:cubicBezTo>
                    <a:pt x="76459" y="18468"/>
                    <a:pt x="68813" y="16108"/>
                    <a:pt x="61078" y="16606"/>
                  </a:cubicBezTo>
                  <a:cubicBezTo>
                    <a:pt x="54880" y="16224"/>
                    <a:pt x="48747" y="18032"/>
                    <a:pt x="43748" y="21713"/>
                  </a:cubicBezTo>
                  <a:cubicBezTo>
                    <a:pt x="40096" y="24250"/>
                    <a:pt x="37820" y="28329"/>
                    <a:pt x="37577" y="32767"/>
                  </a:cubicBezTo>
                  <a:cubicBezTo>
                    <a:pt x="37654" y="36890"/>
                    <a:pt x="39626" y="40743"/>
                    <a:pt x="42919" y="43219"/>
                  </a:cubicBezTo>
                  <a:cubicBezTo>
                    <a:pt x="48659" y="47088"/>
                    <a:pt x="54836" y="50277"/>
                    <a:pt x="61316" y="52715"/>
                  </a:cubicBezTo>
                  <a:cubicBezTo>
                    <a:pt x="72437" y="56822"/>
                    <a:pt x="82906" y="62498"/>
                    <a:pt x="92414" y="69578"/>
                  </a:cubicBezTo>
                  <a:cubicBezTo>
                    <a:pt x="99054" y="75769"/>
                    <a:pt x="102761" y="84485"/>
                    <a:pt x="102618" y="93566"/>
                  </a:cubicBezTo>
                  <a:cubicBezTo>
                    <a:pt x="102524" y="100133"/>
                    <a:pt x="100524" y="106528"/>
                    <a:pt x="96861" y="111972"/>
                  </a:cubicBezTo>
                  <a:cubicBezTo>
                    <a:pt x="92541" y="118395"/>
                    <a:pt x="86436" y="123408"/>
                    <a:pt x="79298" y="126398"/>
                  </a:cubicBezTo>
                  <a:cubicBezTo>
                    <a:pt x="70520" y="130184"/>
                    <a:pt x="61023" y="132030"/>
                    <a:pt x="51466" y="131803"/>
                  </a:cubicBezTo>
                  <a:cubicBezTo>
                    <a:pt x="38251" y="132207"/>
                    <a:pt x="25252" y="128427"/>
                    <a:pt x="14313" y="120998"/>
                  </a:cubicBezTo>
                  <a:cubicBezTo>
                    <a:pt x="4098" y="113774"/>
                    <a:pt x="-731" y="102051"/>
                    <a:pt x="-172" y="85823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ED19BD9C-0B1B-45D3-A6D6-5DBB63A14919}"/>
                </a:ext>
              </a:extLst>
            </p:cNvPr>
            <p:cNvSpPr/>
            <p:nvPr/>
          </p:nvSpPr>
          <p:spPr>
            <a:xfrm>
              <a:off x="5551752" y="4300156"/>
              <a:ext cx="64509" cy="174129"/>
            </a:xfrm>
            <a:custGeom>
              <a:avLst/>
              <a:gdLst>
                <a:gd name="connsiteX0" fmla="*/ 44450 w 64509"/>
                <a:gd name="connsiteY0" fmla="*/ 154364 h 174129"/>
                <a:gd name="connsiteX1" fmla="*/ 40892 w 64509"/>
                <a:gd name="connsiteY1" fmla="*/ 171940 h 174129"/>
                <a:gd name="connsiteX2" fmla="*/ 25937 w 64509"/>
                <a:gd name="connsiteY2" fmla="*/ 173957 h 174129"/>
                <a:gd name="connsiteX3" fmla="*/ 5496 w 64509"/>
                <a:gd name="connsiteY3" fmla="*/ 167662 h 174129"/>
                <a:gd name="connsiteX4" fmla="*/ -200 w 64509"/>
                <a:gd name="connsiteY4" fmla="*/ 154723 h 174129"/>
                <a:gd name="connsiteX5" fmla="*/ 2888 w 64509"/>
                <a:gd name="connsiteY5" fmla="*/ 135604 h 174129"/>
                <a:gd name="connsiteX6" fmla="*/ 18197 w 64509"/>
                <a:gd name="connsiteY6" fmla="*/ 62336 h 174129"/>
                <a:gd name="connsiteX7" fmla="*/ 1242 w 64509"/>
                <a:gd name="connsiteY7" fmla="*/ 62336 h 174129"/>
                <a:gd name="connsiteX8" fmla="*/ 4684 w 64509"/>
                <a:gd name="connsiteY8" fmla="*/ 45710 h 174129"/>
                <a:gd name="connsiteX9" fmla="*/ 21683 w 64509"/>
                <a:gd name="connsiteY9" fmla="*/ 45710 h 174129"/>
                <a:gd name="connsiteX10" fmla="*/ 28213 w 64509"/>
                <a:gd name="connsiteY10" fmla="*/ 14719 h 174129"/>
                <a:gd name="connsiteX11" fmla="*/ 52781 w 64509"/>
                <a:gd name="connsiteY11" fmla="*/ -128 h 174129"/>
                <a:gd name="connsiteX12" fmla="*/ 43168 w 64509"/>
                <a:gd name="connsiteY12" fmla="*/ 45710 h 174129"/>
                <a:gd name="connsiteX13" fmla="*/ 64294 w 64509"/>
                <a:gd name="connsiteY13" fmla="*/ 45710 h 174129"/>
                <a:gd name="connsiteX14" fmla="*/ 60736 w 64509"/>
                <a:gd name="connsiteY14" fmla="*/ 62336 h 174129"/>
                <a:gd name="connsiteX15" fmla="*/ 39743 w 64509"/>
                <a:gd name="connsiteY15" fmla="*/ 62336 h 174129"/>
                <a:gd name="connsiteX16" fmla="*/ 25141 w 64509"/>
                <a:gd name="connsiteY16" fmla="*/ 132039 h 174129"/>
                <a:gd name="connsiteX17" fmla="*/ 22412 w 64509"/>
                <a:gd name="connsiteY17" fmla="*/ 147952 h 174129"/>
                <a:gd name="connsiteX18" fmla="*/ 24622 w 64509"/>
                <a:gd name="connsiteY18" fmla="*/ 153772 h 174129"/>
                <a:gd name="connsiteX19" fmla="*/ 31804 w 64509"/>
                <a:gd name="connsiteY19" fmla="*/ 155790 h 174129"/>
                <a:gd name="connsiteX20" fmla="*/ 44450 w 64509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509" h="174129">
                  <a:moveTo>
                    <a:pt x="44450" y="154364"/>
                  </a:moveTo>
                  <a:lnTo>
                    <a:pt x="40892" y="171940"/>
                  </a:lnTo>
                  <a:cubicBezTo>
                    <a:pt x="36014" y="173250"/>
                    <a:pt x="30986" y="173924"/>
                    <a:pt x="25937" y="173957"/>
                  </a:cubicBezTo>
                  <a:cubicBezTo>
                    <a:pt x="18595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6" y="141889"/>
                    <a:pt x="2888" y="135604"/>
                  </a:cubicBezTo>
                  <a:lnTo>
                    <a:pt x="18197" y="62336"/>
                  </a:lnTo>
                  <a:lnTo>
                    <a:pt x="1242" y="62336"/>
                  </a:lnTo>
                  <a:lnTo>
                    <a:pt x="4684" y="45710"/>
                  </a:lnTo>
                  <a:lnTo>
                    <a:pt x="21683" y="45710"/>
                  </a:lnTo>
                  <a:lnTo>
                    <a:pt x="28213" y="14719"/>
                  </a:lnTo>
                  <a:lnTo>
                    <a:pt x="52781" y="-128"/>
                  </a:lnTo>
                  <a:lnTo>
                    <a:pt x="43168" y="45710"/>
                  </a:lnTo>
                  <a:lnTo>
                    <a:pt x="64294" y="45710"/>
                  </a:lnTo>
                  <a:lnTo>
                    <a:pt x="60736" y="62336"/>
                  </a:lnTo>
                  <a:lnTo>
                    <a:pt x="39743" y="62336"/>
                  </a:lnTo>
                  <a:lnTo>
                    <a:pt x="25141" y="132039"/>
                  </a:lnTo>
                  <a:cubicBezTo>
                    <a:pt x="23904" y="137284"/>
                    <a:pt x="22992" y="142596"/>
                    <a:pt x="22412" y="147952"/>
                  </a:cubicBezTo>
                  <a:cubicBezTo>
                    <a:pt x="22274" y="150119"/>
                    <a:pt x="23081" y="152241"/>
                    <a:pt x="24622" y="153772"/>
                  </a:cubicBezTo>
                  <a:cubicBezTo>
                    <a:pt x="26688" y="155309"/>
                    <a:pt x="29240" y="156027"/>
                    <a:pt x="31804" y="155790"/>
                  </a:cubicBezTo>
                  <a:cubicBezTo>
                    <a:pt x="36063" y="155839"/>
                    <a:pt x="40312" y="155358"/>
                    <a:pt x="44450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9408BE28-AD05-4032-9485-B4FC883515F8}"/>
                </a:ext>
              </a:extLst>
            </p:cNvPr>
            <p:cNvSpPr/>
            <p:nvPr/>
          </p:nvSpPr>
          <p:spPr>
            <a:xfrm>
              <a:off x="5612533" y="4343141"/>
              <a:ext cx="93884" cy="128960"/>
            </a:xfrm>
            <a:custGeom>
              <a:avLst/>
              <a:gdLst>
                <a:gd name="connsiteX0" fmla="*/ -216 w 93884"/>
                <a:gd name="connsiteY0" fmla="*/ 128833 h 128960"/>
                <a:gd name="connsiteX1" fmla="*/ 26136 w 93884"/>
                <a:gd name="connsiteY1" fmla="*/ 2724 h 128960"/>
                <a:gd name="connsiteX2" fmla="*/ 45124 w 93884"/>
                <a:gd name="connsiteY2" fmla="*/ 2724 h 128960"/>
                <a:gd name="connsiteX3" fmla="*/ 39788 w 93884"/>
                <a:gd name="connsiteY3" fmla="*/ 28492 h 128960"/>
                <a:gd name="connsiteX4" fmla="*/ 58836 w 93884"/>
                <a:gd name="connsiteY4" fmla="*/ 6881 h 128960"/>
                <a:gd name="connsiteX5" fmla="*/ 77885 w 93884"/>
                <a:gd name="connsiteY5" fmla="*/ -128 h 128960"/>
                <a:gd name="connsiteX6" fmla="*/ 93669 w 93884"/>
                <a:gd name="connsiteY6" fmla="*/ 4504 h 128960"/>
                <a:gd name="connsiteX7" fmla="*/ 84890 w 93884"/>
                <a:gd name="connsiteY7" fmla="*/ 24452 h 128960"/>
                <a:gd name="connsiteX8" fmla="*/ 72664 w 93884"/>
                <a:gd name="connsiteY8" fmla="*/ 20417 h 128960"/>
                <a:gd name="connsiteX9" fmla="*/ 49516 w 93884"/>
                <a:gd name="connsiteY9" fmla="*/ 33002 h 128960"/>
                <a:gd name="connsiteX10" fmla="*/ 30882 w 93884"/>
                <a:gd name="connsiteY10" fmla="*/ 78248 h 128960"/>
                <a:gd name="connsiteX11" fmla="*/ 20203 w 93884"/>
                <a:gd name="connsiteY11" fmla="*/ 128833 h 12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84" h="128960">
                  <a:moveTo>
                    <a:pt x="-216" y="128833"/>
                  </a:moveTo>
                  <a:lnTo>
                    <a:pt x="26136" y="2724"/>
                  </a:lnTo>
                  <a:lnTo>
                    <a:pt x="45124" y="2724"/>
                  </a:lnTo>
                  <a:lnTo>
                    <a:pt x="39788" y="28492"/>
                  </a:lnTo>
                  <a:cubicBezTo>
                    <a:pt x="44903" y="20284"/>
                    <a:pt x="51339" y="12983"/>
                    <a:pt x="58836" y="6881"/>
                  </a:cubicBezTo>
                  <a:cubicBezTo>
                    <a:pt x="64234" y="2503"/>
                    <a:pt x="70935" y="38"/>
                    <a:pt x="77885" y="-128"/>
                  </a:cubicBezTo>
                  <a:cubicBezTo>
                    <a:pt x="83426" y="226"/>
                    <a:pt x="88818" y="1807"/>
                    <a:pt x="93669" y="4504"/>
                  </a:cubicBezTo>
                  <a:lnTo>
                    <a:pt x="84890" y="24452"/>
                  </a:lnTo>
                  <a:cubicBezTo>
                    <a:pt x="81354" y="21826"/>
                    <a:pt x="77067" y="20412"/>
                    <a:pt x="72664" y="20417"/>
                  </a:cubicBezTo>
                  <a:cubicBezTo>
                    <a:pt x="65145" y="20417"/>
                    <a:pt x="57433" y="24612"/>
                    <a:pt x="49516" y="33002"/>
                  </a:cubicBezTo>
                  <a:cubicBezTo>
                    <a:pt x="41600" y="41393"/>
                    <a:pt x="35390" y="56476"/>
                    <a:pt x="30882" y="78248"/>
                  </a:cubicBezTo>
                  <a:lnTo>
                    <a:pt x="20203" y="12883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2ED07D2F-98A6-4C4F-BB21-C403DF143095}"/>
                </a:ext>
              </a:extLst>
            </p:cNvPr>
            <p:cNvSpPr/>
            <p:nvPr/>
          </p:nvSpPr>
          <p:spPr>
            <a:xfrm>
              <a:off x="5691435" y="4298017"/>
              <a:ext cx="57803" cy="174084"/>
            </a:xfrm>
            <a:custGeom>
              <a:avLst/>
              <a:gdLst>
                <a:gd name="connsiteX0" fmla="*/ -216 w 57803"/>
                <a:gd name="connsiteY0" fmla="*/ 173957 h 174084"/>
                <a:gd name="connsiteX1" fmla="*/ 26136 w 57803"/>
                <a:gd name="connsiteY1" fmla="*/ 47849 h 174084"/>
                <a:gd name="connsiteX2" fmla="*/ 47616 w 57803"/>
                <a:gd name="connsiteY2" fmla="*/ 47849 h 174084"/>
                <a:gd name="connsiteX3" fmla="*/ 21269 w 57803"/>
                <a:gd name="connsiteY3" fmla="*/ 173957 h 174084"/>
                <a:gd name="connsiteX4" fmla="*/ 31119 w 57803"/>
                <a:gd name="connsiteY4" fmla="*/ 24220 h 174084"/>
                <a:gd name="connsiteX5" fmla="*/ 36224 w 57803"/>
                <a:gd name="connsiteY5" fmla="*/ -128 h 174084"/>
                <a:gd name="connsiteX6" fmla="*/ 57588 w 57803"/>
                <a:gd name="connsiteY6" fmla="*/ -128 h 174084"/>
                <a:gd name="connsiteX7" fmla="*/ 52483 w 57803"/>
                <a:gd name="connsiteY7" fmla="*/ 24220 h 17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03" h="174084">
                  <a:moveTo>
                    <a:pt x="-216" y="173957"/>
                  </a:moveTo>
                  <a:lnTo>
                    <a:pt x="26136" y="47849"/>
                  </a:lnTo>
                  <a:lnTo>
                    <a:pt x="47616" y="47849"/>
                  </a:lnTo>
                  <a:lnTo>
                    <a:pt x="21269" y="173957"/>
                  </a:lnTo>
                  <a:close/>
                  <a:moveTo>
                    <a:pt x="31119" y="24220"/>
                  </a:moveTo>
                  <a:lnTo>
                    <a:pt x="36224" y="-128"/>
                  </a:lnTo>
                  <a:lnTo>
                    <a:pt x="57588" y="-128"/>
                  </a:lnTo>
                  <a:lnTo>
                    <a:pt x="52483" y="24220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3EEDA1CD-72A8-43D4-ABB0-B0EA365832AF}"/>
                </a:ext>
              </a:extLst>
            </p:cNvPr>
            <p:cNvSpPr/>
            <p:nvPr/>
          </p:nvSpPr>
          <p:spPr>
            <a:xfrm>
              <a:off x="5749560" y="4343117"/>
              <a:ext cx="116762" cy="131848"/>
            </a:xfrm>
            <a:custGeom>
              <a:avLst/>
              <a:gdLst>
                <a:gd name="connsiteX0" fmla="*/ 87862 w 116762"/>
                <a:gd name="connsiteY0" fmla="*/ 85988 h 131848"/>
                <a:gd name="connsiteX1" fmla="*/ 108750 w 116762"/>
                <a:gd name="connsiteY1" fmla="*/ 88127 h 131848"/>
                <a:gd name="connsiteX2" fmla="*/ 88038 w 116762"/>
                <a:gd name="connsiteY2" fmla="*/ 117697 h 131848"/>
                <a:gd name="connsiteX3" fmla="*/ 49405 w 116762"/>
                <a:gd name="connsiteY3" fmla="*/ 131709 h 131848"/>
                <a:gd name="connsiteX4" fmla="*/ 23710 w 116762"/>
                <a:gd name="connsiteY4" fmla="*/ 125237 h 131848"/>
                <a:gd name="connsiteX5" fmla="*/ 5905 w 116762"/>
                <a:gd name="connsiteY5" fmla="*/ 106444 h 131848"/>
                <a:gd name="connsiteX6" fmla="*/ -205 w 116762"/>
                <a:gd name="connsiteY6" fmla="*/ 78300 h 131848"/>
                <a:gd name="connsiteX7" fmla="*/ 9347 w 116762"/>
                <a:gd name="connsiteY7" fmla="*/ 38222 h 131848"/>
                <a:gd name="connsiteX8" fmla="*/ 34096 w 116762"/>
                <a:gd name="connsiteY8" fmla="*/ 9364 h 131848"/>
                <a:gd name="connsiteX9" fmla="*/ 66973 w 116762"/>
                <a:gd name="connsiteY9" fmla="*/ -76 h 131848"/>
                <a:gd name="connsiteX10" fmla="*/ 102993 w 116762"/>
                <a:gd name="connsiteY10" fmla="*/ 13935 h 131848"/>
                <a:gd name="connsiteX11" fmla="*/ 116468 w 116762"/>
                <a:gd name="connsiteY11" fmla="*/ 52173 h 131848"/>
                <a:gd name="connsiteX12" fmla="*/ 114811 w 116762"/>
                <a:gd name="connsiteY12" fmla="*/ 71175 h 131848"/>
                <a:gd name="connsiteX13" fmla="*/ 21998 w 116762"/>
                <a:gd name="connsiteY13" fmla="*/ 71175 h 131848"/>
                <a:gd name="connsiteX14" fmla="*/ 21523 w 116762"/>
                <a:gd name="connsiteY14" fmla="*/ 77808 h 131848"/>
                <a:gd name="connsiteX15" fmla="*/ 29655 w 116762"/>
                <a:gd name="connsiteY15" fmla="*/ 104825 h 131848"/>
                <a:gd name="connsiteX16" fmla="*/ 49543 w 116762"/>
                <a:gd name="connsiteY16" fmla="*/ 114143 h 131848"/>
                <a:gd name="connsiteX17" fmla="*/ 71266 w 116762"/>
                <a:gd name="connsiteY17" fmla="*/ 106903 h 131848"/>
                <a:gd name="connsiteX18" fmla="*/ 87862 w 116762"/>
                <a:gd name="connsiteY18" fmla="*/ 85988 h 131848"/>
                <a:gd name="connsiteX19" fmla="*/ 25434 w 116762"/>
                <a:gd name="connsiteY19" fmla="*/ 54759 h 131848"/>
                <a:gd name="connsiteX20" fmla="*/ 96176 w 116762"/>
                <a:gd name="connsiteY20" fmla="*/ 54759 h 131848"/>
                <a:gd name="connsiteX21" fmla="*/ 96292 w 116762"/>
                <a:gd name="connsiteY21" fmla="*/ 50011 h 131848"/>
                <a:gd name="connsiteX22" fmla="*/ 88221 w 116762"/>
                <a:gd name="connsiteY22" fmla="*/ 25249 h 131848"/>
                <a:gd name="connsiteX23" fmla="*/ 67454 w 116762"/>
                <a:gd name="connsiteY23" fmla="*/ 16643 h 131848"/>
                <a:gd name="connsiteX24" fmla="*/ 42350 w 116762"/>
                <a:gd name="connsiteY24" fmla="*/ 26139 h 131848"/>
                <a:gd name="connsiteX25" fmla="*/ 25428 w 116762"/>
                <a:gd name="connsiteY25" fmla="*/ 5475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6762" h="131848">
                  <a:moveTo>
                    <a:pt x="87862" y="85988"/>
                  </a:moveTo>
                  <a:lnTo>
                    <a:pt x="108750" y="88127"/>
                  </a:lnTo>
                  <a:cubicBezTo>
                    <a:pt x="104866" y="99789"/>
                    <a:pt x="97668" y="110064"/>
                    <a:pt x="88038" y="117697"/>
                  </a:cubicBezTo>
                  <a:cubicBezTo>
                    <a:pt x="77343" y="127000"/>
                    <a:pt x="63576" y="131996"/>
                    <a:pt x="49405" y="131709"/>
                  </a:cubicBezTo>
                  <a:cubicBezTo>
                    <a:pt x="40428" y="131797"/>
                    <a:pt x="31577" y="129570"/>
                    <a:pt x="23710" y="125237"/>
                  </a:cubicBezTo>
                  <a:cubicBezTo>
                    <a:pt x="15959" y="120981"/>
                    <a:pt x="9739" y="114414"/>
                    <a:pt x="5905" y="106444"/>
                  </a:cubicBezTo>
                  <a:cubicBezTo>
                    <a:pt x="1706" y="97667"/>
                    <a:pt x="-382" y="88028"/>
                    <a:pt x="-205" y="78300"/>
                  </a:cubicBezTo>
                  <a:cubicBezTo>
                    <a:pt x="-172" y="64382"/>
                    <a:pt x="3098" y="50658"/>
                    <a:pt x="9347" y="38222"/>
                  </a:cubicBezTo>
                  <a:cubicBezTo>
                    <a:pt x="14700" y="26449"/>
                    <a:pt x="23279" y="16444"/>
                    <a:pt x="34096" y="9364"/>
                  </a:cubicBezTo>
                  <a:cubicBezTo>
                    <a:pt x="43936" y="3152"/>
                    <a:pt x="55338" y="-120"/>
                    <a:pt x="66973" y="-76"/>
                  </a:cubicBezTo>
                  <a:cubicBezTo>
                    <a:pt x="80420" y="-701"/>
                    <a:pt x="93502" y="4390"/>
                    <a:pt x="102993" y="13935"/>
                  </a:cubicBezTo>
                  <a:cubicBezTo>
                    <a:pt x="112385" y="24382"/>
                    <a:pt x="117236" y="38139"/>
                    <a:pt x="116468" y="52173"/>
                  </a:cubicBezTo>
                  <a:cubicBezTo>
                    <a:pt x="116451" y="58540"/>
                    <a:pt x="115899" y="64896"/>
                    <a:pt x="114811" y="71175"/>
                  </a:cubicBezTo>
                  <a:lnTo>
                    <a:pt x="21998" y="71175"/>
                  </a:lnTo>
                  <a:cubicBezTo>
                    <a:pt x="21699" y="73375"/>
                    <a:pt x="21539" y="75591"/>
                    <a:pt x="21523" y="77808"/>
                  </a:cubicBezTo>
                  <a:cubicBezTo>
                    <a:pt x="20854" y="87502"/>
                    <a:pt x="23743" y="97109"/>
                    <a:pt x="29655" y="104825"/>
                  </a:cubicBezTo>
                  <a:cubicBezTo>
                    <a:pt x="34533" y="110783"/>
                    <a:pt x="41848" y="114210"/>
                    <a:pt x="49543" y="114143"/>
                  </a:cubicBezTo>
                  <a:cubicBezTo>
                    <a:pt x="57349" y="114000"/>
                    <a:pt x="64929" y="111474"/>
                    <a:pt x="71266" y="106903"/>
                  </a:cubicBezTo>
                  <a:cubicBezTo>
                    <a:pt x="78696" y="101680"/>
                    <a:pt x="84464" y="94417"/>
                    <a:pt x="87862" y="85988"/>
                  </a:cubicBezTo>
                  <a:close/>
                  <a:moveTo>
                    <a:pt x="25434" y="54759"/>
                  </a:moveTo>
                  <a:lnTo>
                    <a:pt x="96176" y="54759"/>
                  </a:lnTo>
                  <a:cubicBezTo>
                    <a:pt x="96253" y="52548"/>
                    <a:pt x="96292" y="50962"/>
                    <a:pt x="96292" y="50011"/>
                  </a:cubicBezTo>
                  <a:cubicBezTo>
                    <a:pt x="96900" y="41024"/>
                    <a:pt x="94005" y="32153"/>
                    <a:pt x="88221" y="25249"/>
                  </a:cubicBezTo>
                  <a:cubicBezTo>
                    <a:pt x="82862" y="19518"/>
                    <a:pt x="75293" y="16384"/>
                    <a:pt x="67454" y="16643"/>
                  </a:cubicBezTo>
                  <a:cubicBezTo>
                    <a:pt x="58211" y="16666"/>
                    <a:pt x="49295" y="20037"/>
                    <a:pt x="42350" y="26139"/>
                  </a:cubicBezTo>
                  <a:cubicBezTo>
                    <a:pt x="33992" y="33783"/>
                    <a:pt x="28102" y="43749"/>
                    <a:pt x="25428" y="54759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6D96F9F2-1E5C-4E5C-A7E9-9C9A127303EB}"/>
                </a:ext>
              </a:extLst>
            </p:cNvPr>
            <p:cNvSpPr/>
            <p:nvPr/>
          </p:nvSpPr>
          <p:spPr>
            <a:xfrm>
              <a:off x="5881006" y="4343050"/>
              <a:ext cx="111839" cy="131960"/>
            </a:xfrm>
            <a:custGeom>
              <a:avLst/>
              <a:gdLst>
                <a:gd name="connsiteX0" fmla="*/ -173 w 111839"/>
                <a:gd name="connsiteY0" fmla="*/ 85823 h 131960"/>
                <a:gd name="connsiteX1" fmla="*/ 21313 w 111839"/>
                <a:gd name="connsiteY1" fmla="*/ 84513 h 131960"/>
                <a:gd name="connsiteX2" fmla="*/ 24158 w 111839"/>
                <a:gd name="connsiteY2" fmla="*/ 100309 h 131960"/>
                <a:gd name="connsiteX3" fmla="*/ 34654 w 111839"/>
                <a:gd name="connsiteY3" fmla="*/ 110994 h 131960"/>
                <a:gd name="connsiteX4" fmla="*/ 52515 w 111839"/>
                <a:gd name="connsiteY4" fmla="*/ 115150 h 131960"/>
                <a:gd name="connsiteX5" fmla="*/ 73879 w 111839"/>
                <a:gd name="connsiteY5" fmla="*/ 109451 h 131960"/>
                <a:gd name="connsiteX6" fmla="*/ 81000 w 111839"/>
                <a:gd name="connsiteY6" fmla="*/ 96031 h 131960"/>
                <a:gd name="connsiteX7" fmla="*/ 76730 w 111839"/>
                <a:gd name="connsiteY7" fmla="*/ 85464 h 131960"/>
                <a:gd name="connsiteX8" fmla="*/ 55305 w 111839"/>
                <a:gd name="connsiteY8" fmla="*/ 73171 h 131960"/>
                <a:gd name="connsiteX9" fmla="*/ 33522 w 111839"/>
                <a:gd name="connsiteY9" fmla="*/ 62901 h 131960"/>
                <a:gd name="connsiteX10" fmla="*/ 21534 w 111839"/>
                <a:gd name="connsiteY10" fmla="*/ 51443 h 131960"/>
                <a:gd name="connsiteX11" fmla="*/ 17501 w 111839"/>
                <a:gd name="connsiteY11" fmla="*/ 36299 h 131960"/>
                <a:gd name="connsiteX12" fmla="*/ 29367 w 111839"/>
                <a:gd name="connsiteY12" fmla="*/ 10653 h 131960"/>
                <a:gd name="connsiteX13" fmla="*/ 62603 w 111839"/>
                <a:gd name="connsiteY13" fmla="*/ -37 h 131960"/>
                <a:gd name="connsiteX14" fmla="*/ 98745 w 111839"/>
                <a:gd name="connsiteY14" fmla="*/ 10951 h 131960"/>
                <a:gd name="connsiteX15" fmla="*/ 111623 w 111839"/>
                <a:gd name="connsiteY15" fmla="*/ 39864 h 131960"/>
                <a:gd name="connsiteX16" fmla="*/ 90629 w 111839"/>
                <a:gd name="connsiteY16" fmla="*/ 41290 h 131960"/>
                <a:gd name="connsiteX17" fmla="*/ 82558 w 111839"/>
                <a:gd name="connsiteY17" fmla="*/ 23238 h 131960"/>
                <a:gd name="connsiteX18" fmla="*/ 61078 w 111839"/>
                <a:gd name="connsiteY18" fmla="*/ 16606 h 131960"/>
                <a:gd name="connsiteX19" fmla="*/ 43748 w 111839"/>
                <a:gd name="connsiteY19" fmla="*/ 21713 h 131960"/>
                <a:gd name="connsiteX20" fmla="*/ 37577 w 111839"/>
                <a:gd name="connsiteY20" fmla="*/ 32767 h 131960"/>
                <a:gd name="connsiteX21" fmla="*/ 42919 w 111839"/>
                <a:gd name="connsiteY21" fmla="*/ 43219 h 131960"/>
                <a:gd name="connsiteX22" fmla="*/ 61316 w 111839"/>
                <a:gd name="connsiteY22" fmla="*/ 52715 h 131960"/>
                <a:gd name="connsiteX23" fmla="*/ 92414 w 111839"/>
                <a:gd name="connsiteY23" fmla="*/ 69578 h 131960"/>
                <a:gd name="connsiteX24" fmla="*/ 102618 w 111839"/>
                <a:gd name="connsiteY24" fmla="*/ 93566 h 131960"/>
                <a:gd name="connsiteX25" fmla="*/ 96861 w 111839"/>
                <a:gd name="connsiteY25" fmla="*/ 111972 h 131960"/>
                <a:gd name="connsiteX26" fmla="*/ 79298 w 111839"/>
                <a:gd name="connsiteY26" fmla="*/ 126398 h 131960"/>
                <a:gd name="connsiteX27" fmla="*/ 51466 w 111839"/>
                <a:gd name="connsiteY27" fmla="*/ 131803 h 131960"/>
                <a:gd name="connsiteX28" fmla="*/ 14313 w 111839"/>
                <a:gd name="connsiteY28" fmla="*/ 120998 h 131960"/>
                <a:gd name="connsiteX29" fmla="*/ -173 w 111839"/>
                <a:gd name="connsiteY29" fmla="*/ 85823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1839" h="131960">
                  <a:moveTo>
                    <a:pt x="-173" y="85823"/>
                  </a:moveTo>
                  <a:lnTo>
                    <a:pt x="21313" y="84513"/>
                  </a:lnTo>
                  <a:cubicBezTo>
                    <a:pt x="21169" y="89918"/>
                    <a:pt x="22136" y="95296"/>
                    <a:pt x="24158" y="100309"/>
                  </a:cubicBezTo>
                  <a:cubicBezTo>
                    <a:pt x="26340" y="104958"/>
                    <a:pt x="30041" y="108727"/>
                    <a:pt x="34654" y="110994"/>
                  </a:cubicBezTo>
                  <a:cubicBezTo>
                    <a:pt x="40163" y="113862"/>
                    <a:pt x="46306" y="115294"/>
                    <a:pt x="52515" y="115150"/>
                  </a:cubicBezTo>
                  <a:cubicBezTo>
                    <a:pt x="60073" y="115703"/>
                    <a:pt x="67598" y="113696"/>
                    <a:pt x="73879" y="109451"/>
                  </a:cubicBezTo>
                  <a:cubicBezTo>
                    <a:pt x="78254" y="106367"/>
                    <a:pt x="80895" y="101382"/>
                    <a:pt x="81000" y="96031"/>
                  </a:cubicBezTo>
                  <a:cubicBezTo>
                    <a:pt x="80917" y="92102"/>
                    <a:pt x="79398" y="88343"/>
                    <a:pt x="76730" y="85464"/>
                  </a:cubicBezTo>
                  <a:cubicBezTo>
                    <a:pt x="70404" y="80085"/>
                    <a:pt x="63139" y="75918"/>
                    <a:pt x="55305" y="73171"/>
                  </a:cubicBezTo>
                  <a:cubicBezTo>
                    <a:pt x="47847" y="70181"/>
                    <a:pt x="40571" y="66754"/>
                    <a:pt x="33522" y="62901"/>
                  </a:cubicBezTo>
                  <a:cubicBezTo>
                    <a:pt x="28671" y="60094"/>
                    <a:pt x="24561" y="56164"/>
                    <a:pt x="21534" y="51443"/>
                  </a:cubicBezTo>
                  <a:cubicBezTo>
                    <a:pt x="18793" y="46873"/>
                    <a:pt x="17396" y="41627"/>
                    <a:pt x="17501" y="36299"/>
                  </a:cubicBezTo>
                  <a:cubicBezTo>
                    <a:pt x="17456" y="26411"/>
                    <a:pt x="21804" y="17020"/>
                    <a:pt x="29367" y="10653"/>
                  </a:cubicBezTo>
                  <a:cubicBezTo>
                    <a:pt x="38710" y="3036"/>
                    <a:pt x="50576" y="-778"/>
                    <a:pt x="62603" y="-37"/>
                  </a:cubicBezTo>
                  <a:cubicBezTo>
                    <a:pt x="78442" y="-37"/>
                    <a:pt x="90486" y="3628"/>
                    <a:pt x="98745" y="10951"/>
                  </a:cubicBezTo>
                  <a:cubicBezTo>
                    <a:pt x="107015" y="18269"/>
                    <a:pt x="111711" y="28815"/>
                    <a:pt x="111623" y="39864"/>
                  </a:cubicBezTo>
                  <a:lnTo>
                    <a:pt x="90629" y="41290"/>
                  </a:lnTo>
                  <a:cubicBezTo>
                    <a:pt x="90635" y="34398"/>
                    <a:pt x="87696" y="27831"/>
                    <a:pt x="82558" y="23238"/>
                  </a:cubicBezTo>
                  <a:cubicBezTo>
                    <a:pt x="76453" y="18468"/>
                    <a:pt x="68807" y="16108"/>
                    <a:pt x="61078" y="16606"/>
                  </a:cubicBezTo>
                  <a:cubicBezTo>
                    <a:pt x="54880" y="16224"/>
                    <a:pt x="48748" y="18032"/>
                    <a:pt x="43748" y="21713"/>
                  </a:cubicBezTo>
                  <a:cubicBezTo>
                    <a:pt x="40096" y="24250"/>
                    <a:pt x="37820" y="28329"/>
                    <a:pt x="37577" y="32767"/>
                  </a:cubicBezTo>
                  <a:cubicBezTo>
                    <a:pt x="37654" y="36890"/>
                    <a:pt x="39627" y="40743"/>
                    <a:pt x="42919" y="43219"/>
                  </a:cubicBezTo>
                  <a:cubicBezTo>
                    <a:pt x="48659" y="47088"/>
                    <a:pt x="54836" y="50277"/>
                    <a:pt x="61316" y="52715"/>
                  </a:cubicBezTo>
                  <a:cubicBezTo>
                    <a:pt x="72437" y="56822"/>
                    <a:pt x="82906" y="62498"/>
                    <a:pt x="92414" y="69578"/>
                  </a:cubicBezTo>
                  <a:cubicBezTo>
                    <a:pt x="99054" y="75769"/>
                    <a:pt x="102761" y="84485"/>
                    <a:pt x="102618" y="93566"/>
                  </a:cubicBezTo>
                  <a:cubicBezTo>
                    <a:pt x="102524" y="100133"/>
                    <a:pt x="100524" y="106528"/>
                    <a:pt x="96861" y="111972"/>
                  </a:cubicBezTo>
                  <a:cubicBezTo>
                    <a:pt x="92541" y="118395"/>
                    <a:pt x="86436" y="123408"/>
                    <a:pt x="79298" y="126398"/>
                  </a:cubicBezTo>
                  <a:cubicBezTo>
                    <a:pt x="70520" y="130184"/>
                    <a:pt x="61023" y="132030"/>
                    <a:pt x="51466" y="131803"/>
                  </a:cubicBezTo>
                  <a:cubicBezTo>
                    <a:pt x="38251" y="132207"/>
                    <a:pt x="25252" y="128427"/>
                    <a:pt x="14313" y="120998"/>
                  </a:cubicBezTo>
                  <a:cubicBezTo>
                    <a:pt x="4098" y="113774"/>
                    <a:pt x="-730" y="102051"/>
                    <a:pt x="-173" y="85823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A205CFA3-9518-499D-B45B-AD9D484F1E06}"/>
                </a:ext>
              </a:extLst>
            </p:cNvPr>
            <p:cNvSpPr/>
            <p:nvPr/>
          </p:nvSpPr>
          <p:spPr>
            <a:xfrm>
              <a:off x="6071217" y="4300156"/>
              <a:ext cx="64482" cy="174129"/>
            </a:xfrm>
            <a:custGeom>
              <a:avLst/>
              <a:gdLst>
                <a:gd name="connsiteX0" fmla="*/ 44450 w 64482"/>
                <a:gd name="connsiteY0" fmla="*/ 154364 h 174129"/>
                <a:gd name="connsiteX1" fmla="*/ 40892 w 64482"/>
                <a:gd name="connsiteY1" fmla="*/ 171940 h 174129"/>
                <a:gd name="connsiteX2" fmla="*/ 25937 w 64482"/>
                <a:gd name="connsiteY2" fmla="*/ 173957 h 174129"/>
                <a:gd name="connsiteX3" fmla="*/ 5496 w 64482"/>
                <a:gd name="connsiteY3" fmla="*/ 167662 h 174129"/>
                <a:gd name="connsiteX4" fmla="*/ -200 w 64482"/>
                <a:gd name="connsiteY4" fmla="*/ 154723 h 174129"/>
                <a:gd name="connsiteX5" fmla="*/ 2888 w 64482"/>
                <a:gd name="connsiteY5" fmla="*/ 135604 h 174129"/>
                <a:gd name="connsiteX6" fmla="*/ 18213 w 64482"/>
                <a:gd name="connsiteY6" fmla="*/ 62336 h 174129"/>
                <a:gd name="connsiteX7" fmla="*/ 1242 w 64482"/>
                <a:gd name="connsiteY7" fmla="*/ 62336 h 174129"/>
                <a:gd name="connsiteX8" fmla="*/ 4684 w 64482"/>
                <a:gd name="connsiteY8" fmla="*/ 45710 h 174129"/>
                <a:gd name="connsiteX9" fmla="*/ 21655 w 64482"/>
                <a:gd name="connsiteY9" fmla="*/ 45710 h 174129"/>
                <a:gd name="connsiteX10" fmla="*/ 28185 w 64482"/>
                <a:gd name="connsiteY10" fmla="*/ 14719 h 174129"/>
                <a:gd name="connsiteX11" fmla="*/ 52753 w 64482"/>
                <a:gd name="connsiteY11" fmla="*/ -128 h 174129"/>
                <a:gd name="connsiteX12" fmla="*/ 43140 w 64482"/>
                <a:gd name="connsiteY12" fmla="*/ 45710 h 174129"/>
                <a:gd name="connsiteX13" fmla="*/ 64266 w 64482"/>
                <a:gd name="connsiteY13" fmla="*/ 45710 h 174129"/>
                <a:gd name="connsiteX14" fmla="*/ 60708 w 64482"/>
                <a:gd name="connsiteY14" fmla="*/ 62336 h 174129"/>
                <a:gd name="connsiteX15" fmla="*/ 39715 w 64482"/>
                <a:gd name="connsiteY15" fmla="*/ 62336 h 174129"/>
                <a:gd name="connsiteX16" fmla="*/ 25114 w 64482"/>
                <a:gd name="connsiteY16" fmla="*/ 132039 h 174129"/>
                <a:gd name="connsiteX17" fmla="*/ 22384 w 64482"/>
                <a:gd name="connsiteY17" fmla="*/ 147952 h 174129"/>
                <a:gd name="connsiteX18" fmla="*/ 24594 w 64482"/>
                <a:gd name="connsiteY18" fmla="*/ 153772 h 174129"/>
                <a:gd name="connsiteX19" fmla="*/ 31776 w 64482"/>
                <a:gd name="connsiteY19" fmla="*/ 155790 h 174129"/>
                <a:gd name="connsiteX20" fmla="*/ 44450 w 64482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82" h="174129">
                  <a:moveTo>
                    <a:pt x="44450" y="154364"/>
                  </a:moveTo>
                  <a:lnTo>
                    <a:pt x="40892" y="171940"/>
                  </a:lnTo>
                  <a:cubicBezTo>
                    <a:pt x="36013" y="173250"/>
                    <a:pt x="30986" y="173924"/>
                    <a:pt x="25937" y="173957"/>
                  </a:cubicBezTo>
                  <a:cubicBezTo>
                    <a:pt x="18595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5" y="141889"/>
                    <a:pt x="2888" y="135604"/>
                  </a:cubicBezTo>
                  <a:lnTo>
                    <a:pt x="18213" y="62336"/>
                  </a:lnTo>
                  <a:lnTo>
                    <a:pt x="1242" y="62336"/>
                  </a:lnTo>
                  <a:lnTo>
                    <a:pt x="4684" y="45710"/>
                  </a:lnTo>
                  <a:lnTo>
                    <a:pt x="21655" y="45710"/>
                  </a:lnTo>
                  <a:lnTo>
                    <a:pt x="28185" y="14719"/>
                  </a:lnTo>
                  <a:lnTo>
                    <a:pt x="52753" y="-128"/>
                  </a:lnTo>
                  <a:lnTo>
                    <a:pt x="43140" y="45710"/>
                  </a:lnTo>
                  <a:lnTo>
                    <a:pt x="64266" y="45710"/>
                  </a:lnTo>
                  <a:lnTo>
                    <a:pt x="60708" y="62336"/>
                  </a:lnTo>
                  <a:lnTo>
                    <a:pt x="39715" y="62336"/>
                  </a:lnTo>
                  <a:lnTo>
                    <a:pt x="25114" y="132039"/>
                  </a:lnTo>
                  <a:cubicBezTo>
                    <a:pt x="23876" y="137284"/>
                    <a:pt x="22964" y="142596"/>
                    <a:pt x="22384" y="147952"/>
                  </a:cubicBezTo>
                  <a:cubicBezTo>
                    <a:pt x="22241" y="150119"/>
                    <a:pt x="23047" y="152246"/>
                    <a:pt x="24594" y="153772"/>
                  </a:cubicBezTo>
                  <a:cubicBezTo>
                    <a:pt x="26655" y="155309"/>
                    <a:pt x="29213" y="156027"/>
                    <a:pt x="31776" y="155790"/>
                  </a:cubicBezTo>
                  <a:cubicBezTo>
                    <a:pt x="36041" y="155839"/>
                    <a:pt x="40301" y="155364"/>
                    <a:pt x="44450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AFF49087-4993-4FFC-8E5F-8156749F9E4E}"/>
                </a:ext>
              </a:extLst>
            </p:cNvPr>
            <p:cNvSpPr/>
            <p:nvPr/>
          </p:nvSpPr>
          <p:spPr>
            <a:xfrm>
              <a:off x="6131997" y="4297995"/>
              <a:ext cx="120471" cy="174134"/>
            </a:xfrm>
            <a:custGeom>
              <a:avLst/>
              <a:gdLst>
                <a:gd name="connsiteX0" fmla="*/ -216 w 120471"/>
                <a:gd name="connsiteY0" fmla="*/ 173979 h 174134"/>
                <a:gd name="connsiteX1" fmla="*/ 36097 w 120471"/>
                <a:gd name="connsiteY1" fmla="*/ -128 h 174134"/>
                <a:gd name="connsiteX2" fmla="*/ 57582 w 120471"/>
                <a:gd name="connsiteY2" fmla="*/ -128 h 174134"/>
                <a:gd name="connsiteX3" fmla="*/ 43693 w 120471"/>
                <a:gd name="connsiteY3" fmla="*/ 66752 h 174134"/>
                <a:gd name="connsiteX4" fmla="*/ 66007 w 120471"/>
                <a:gd name="connsiteY4" fmla="*/ 50065 h 174134"/>
                <a:gd name="connsiteX5" fmla="*/ 87255 w 120471"/>
                <a:gd name="connsiteY5" fmla="*/ 45019 h 174134"/>
                <a:gd name="connsiteX6" fmla="*/ 111563 w 120471"/>
                <a:gd name="connsiteY6" fmla="*/ 53271 h 174134"/>
                <a:gd name="connsiteX7" fmla="*/ 120231 w 120471"/>
                <a:gd name="connsiteY7" fmla="*/ 75065 h 174134"/>
                <a:gd name="connsiteX8" fmla="*/ 116430 w 120471"/>
                <a:gd name="connsiteY8" fmla="*/ 99528 h 174134"/>
                <a:gd name="connsiteX9" fmla="*/ 100884 w 120471"/>
                <a:gd name="connsiteY9" fmla="*/ 173979 h 174134"/>
                <a:gd name="connsiteX10" fmla="*/ 79399 w 120471"/>
                <a:gd name="connsiteY10" fmla="*/ 173979 h 174134"/>
                <a:gd name="connsiteX11" fmla="*/ 95420 w 120471"/>
                <a:gd name="connsiteY11" fmla="*/ 97627 h 174134"/>
                <a:gd name="connsiteX12" fmla="*/ 98862 w 120471"/>
                <a:gd name="connsiteY12" fmla="*/ 76728 h 174134"/>
                <a:gd name="connsiteX13" fmla="*/ 94586 w 120471"/>
                <a:gd name="connsiteY13" fmla="*/ 66630 h 174134"/>
                <a:gd name="connsiteX14" fmla="*/ 82244 w 120471"/>
                <a:gd name="connsiteY14" fmla="*/ 62711 h 174134"/>
                <a:gd name="connsiteX15" fmla="*/ 43495 w 120471"/>
                <a:gd name="connsiteY15" fmla="*/ 85572 h 174134"/>
                <a:gd name="connsiteX16" fmla="*/ 32512 w 120471"/>
                <a:gd name="connsiteY16" fmla="*/ 119841 h 174134"/>
                <a:gd name="connsiteX17" fmla="*/ 21236 w 120471"/>
                <a:gd name="connsiteY17" fmla="*/ 174007 h 174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471" h="174134">
                  <a:moveTo>
                    <a:pt x="-216" y="173979"/>
                  </a:moveTo>
                  <a:lnTo>
                    <a:pt x="36097" y="-128"/>
                  </a:lnTo>
                  <a:lnTo>
                    <a:pt x="57582" y="-128"/>
                  </a:lnTo>
                  <a:lnTo>
                    <a:pt x="43693" y="66752"/>
                  </a:lnTo>
                  <a:cubicBezTo>
                    <a:pt x="50229" y="60075"/>
                    <a:pt x="57754" y="54448"/>
                    <a:pt x="66007" y="50065"/>
                  </a:cubicBezTo>
                  <a:cubicBezTo>
                    <a:pt x="72609" y="46771"/>
                    <a:pt x="79879" y="45046"/>
                    <a:pt x="87255" y="45019"/>
                  </a:cubicBezTo>
                  <a:cubicBezTo>
                    <a:pt x="96127" y="44472"/>
                    <a:pt x="104856" y="47434"/>
                    <a:pt x="111563" y="53271"/>
                  </a:cubicBezTo>
                  <a:cubicBezTo>
                    <a:pt x="117419" y="58969"/>
                    <a:pt x="120573" y="66896"/>
                    <a:pt x="120231" y="75065"/>
                  </a:cubicBezTo>
                  <a:cubicBezTo>
                    <a:pt x="119678" y="83317"/>
                    <a:pt x="118408" y="91502"/>
                    <a:pt x="116430" y="99528"/>
                  </a:cubicBezTo>
                  <a:lnTo>
                    <a:pt x="100884" y="173979"/>
                  </a:lnTo>
                  <a:lnTo>
                    <a:pt x="79399" y="173979"/>
                  </a:lnTo>
                  <a:lnTo>
                    <a:pt x="95420" y="97627"/>
                  </a:lnTo>
                  <a:cubicBezTo>
                    <a:pt x="97072" y="90751"/>
                    <a:pt x="98221" y="83770"/>
                    <a:pt x="98862" y="76728"/>
                  </a:cubicBezTo>
                  <a:cubicBezTo>
                    <a:pt x="98983" y="72898"/>
                    <a:pt x="97420" y="69206"/>
                    <a:pt x="94586" y="66630"/>
                  </a:cubicBezTo>
                  <a:cubicBezTo>
                    <a:pt x="91116" y="63811"/>
                    <a:pt x="86708" y="62407"/>
                    <a:pt x="82244" y="62711"/>
                  </a:cubicBezTo>
                  <a:cubicBezTo>
                    <a:pt x="66178" y="62883"/>
                    <a:pt x="51422" y="71594"/>
                    <a:pt x="43495" y="85572"/>
                  </a:cubicBezTo>
                  <a:cubicBezTo>
                    <a:pt x="38241" y="96422"/>
                    <a:pt x="34539" y="107957"/>
                    <a:pt x="32512" y="119841"/>
                  </a:cubicBezTo>
                  <a:lnTo>
                    <a:pt x="21236" y="174007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F37D8F18-7EDA-40D8-8442-27C2B2F854DA}"/>
                </a:ext>
              </a:extLst>
            </p:cNvPr>
            <p:cNvSpPr/>
            <p:nvPr/>
          </p:nvSpPr>
          <p:spPr>
            <a:xfrm>
              <a:off x="6268545" y="4343080"/>
              <a:ext cx="117273" cy="131913"/>
            </a:xfrm>
            <a:custGeom>
              <a:avLst/>
              <a:gdLst>
                <a:gd name="connsiteX0" fmla="*/ 82197 w 117273"/>
                <a:gd name="connsiteY0" fmla="*/ 113219 h 131913"/>
                <a:gd name="connsiteX1" fmla="*/ 60711 w 117273"/>
                <a:gd name="connsiteY1" fmla="*/ 127292 h 131913"/>
                <a:gd name="connsiteX2" fmla="*/ 38613 w 117273"/>
                <a:gd name="connsiteY2" fmla="*/ 131746 h 131913"/>
                <a:gd name="connsiteX3" fmla="*/ 10482 w 117273"/>
                <a:gd name="connsiteY3" fmla="*/ 121477 h 131913"/>
                <a:gd name="connsiteX4" fmla="*/ -197 w 117273"/>
                <a:gd name="connsiteY4" fmla="*/ 95173 h 131913"/>
                <a:gd name="connsiteX5" fmla="*/ 4610 w 117273"/>
                <a:gd name="connsiteY5" fmla="*/ 76469 h 131913"/>
                <a:gd name="connsiteX6" fmla="*/ 17371 w 117273"/>
                <a:gd name="connsiteY6" fmla="*/ 63408 h 131913"/>
                <a:gd name="connsiteX7" fmla="*/ 36834 w 117273"/>
                <a:gd name="connsiteY7" fmla="*/ 56339 h 131913"/>
                <a:gd name="connsiteX8" fmla="*/ 64314 w 117273"/>
                <a:gd name="connsiteY8" fmla="*/ 54084 h 131913"/>
                <a:gd name="connsiteX9" fmla="*/ 93334 w 117273"/>
                <a:gd name="connsiteY9" fmla="*/ 49811 h 131913"/>
                <a:gd name="connsiteX10" fmla="*/ 95826 w 117273"/>
                <a:gd name="connsiteY10" fmla="*/ 35203 h 131913"/>
                <a:gd name="connsiteX11" fmla="*/ 90362 w 117273"/>
                <a:gd name="connsiteY11" fmla="*/ 23446 h 131913"/>
                <a:gd name="connsiteX12" fmla="*/ 68523 w 117273"/>
                <a:gd name="connsiteY12" fmla="*/ 17510 h 131913"/>
                <a:gd name="connsiteX13" fmla="*/ 46386 w 117273"/>
                <a:gd name="connsiteY13" fmla="*/ 23507 h 131913"/>
                <a:gd name="connsiteX14" fmla="*/ 33868 w 117273"/>
                <a:gd name="connsiteY14" fmla="*/ 40548 h 131913"/>
                <a:gd name="connsiteX15" fmla="*/ 12145 w 117273"/>
                <a:gd name="connsiteY15" fmla="*/ 38646 h 131913"/>
                <a:gd name="connsiteX16" fmla="*/ 33216 w 117273"/>
                <a:gd name="connsiteY16" fmla="*/ 9905 h 131913"/>
                <a:gd name="connsiteX17" fmla="*/ 69595 w 117273"/>
                <a:gd name="connsiteY17" fmla="*/ -44 h 131913"/>
                <a:gd name="connsiteX18" fmla="*/ 106610 w 117273"/>
                <a:gd name="connsiteY18" fmla="*/ 11121 h 131913"/>
                <a:gd name="connsiteX19" fmla="*/ 117051 w 117273"/>
                <a:gd name="connsiteY19" fmla="*/ 32732 h 131913"/>
                <a:gd name="connsiteX20" fmla="*/ 114084 w 117273"/>
                <a:gd name="connsiteY20" fmla="*/ 56123 h 131913"/>
                <a:gd name="connsiteX21" fmla="*/ 107085 w 117273"/>
                <a:gd name="connsiteY21" fmla="*/ 87474 h 131913"/>
                <a:gd name="connsiteX22" fmla="*/ 103770 w 117273"/>
                <a:gd name="connsiteY22" fmla="*/ 111793 h 131913"/>
                <a:gd name="connsiteX23" fmla="*/ 106383 w 117273"/>
                <a:gd name="connsiteY23" fmla="*/ 128889 h 131913"/>
                <a:gd name="connsiteX24" fmla="*/ 84683 w 117273"/>
                <a:gd name="connsiteY24" fmla="*/ 128889 h 131913"/>
                <a:gd name="connsiteX25" fmla="*/ 82197 w 117273"/>
                <a:gd name="connsiteY25" fmla="*/ 113219 h 131913"/>
                <a:gd name="connsiteX26" fmla="*/ 90146 w 117273"/>
                <a:gd name="connsiteY26" fmla="*/ 65011 h 131913"/>
                <a:gd name="connsiteX27" fmla="*/ 80473 w 117273"/>
                <a:gd name="connsiteY27" fmla="*/ 67742 h 131913"/>
                <a:gd name="connsiteX28" fmla="*/ 63203 w 117273"/>
                <a:gd name="connsiteY28" fmla="*/ 69759 h 131913"/>
                <a:gd name="connsiteX29" fmla="*/ 36735 w 117273"/>
                <a:gd name="connsiteY29" fmla="*/ 73976 h 131913"/>
                <a:gd name="connsiteX30" fmla="*/ 25133 w 117273"/>
                <a:gd name="connsiteY30" fmla="*/ 82107 h 131913"/>
                <a:gd name="connsiteX31" fmla="*/ 21216 w 117273"/>
                <a:gd name="connsiteY31" fmla="*/ 94460 h 131913"/>
                <a:gd name="connsiteX32" fmla="*/ 27448 w 117273"/>
                <a:gd name="connsiteY32" fmla="*/ 109301 h 131913"/>
                <a:gd name="connsiteX33" fmla="*/ 45193 w 117273"/>
                <a:gd name="connsiteY33" fmla="*/ 115121 h 131913"/>
                <a:gd name="connsiteX34" fmla="*/ 81274 w 117273"/>
                <a:gd name="connsiteY34" fmla="*/ 93747 h 131913"/>
                <a:gd name="connsiteX35" fmla="*/ 90141 w 117273"/>
                <a:gd name="connsiteY35" fmla="*/ 65011 h 13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273" h="131913">
                  <a:moveTo>
                    <a:pt x="82197" y="113219"/>
                  </a:moveTo>
                  <a:cubicBezTo>
                    <a:pt x="75788" y="118968"/>
                    <a:pt x="68540" y="123710"/>
                    <a:pt x="60711" y="127292"/>
                  </a:cubicBezTo>
                  <a:cubicBezTo>
                    <a:pt x="53728" y="130282"/>
                    <a:pt x="46209" y="131796"/>
                    <a:pt x="38613" y="131746"/>
                  </a:cubicBezTo>
                  <a:cubicBezTo>
                    <a:pt x="28244" y="132216"/>
                    <a:pt x="18112" y="128519"/>
                    <a:pt x="10482" y="121477"/>
                  </a:cubicBezTo>
                  <a:cubicBezTo>
                    <a:pt x="3355" y="114618"/>
                    <a:pt x="-523" y="105061"/>
                    <a:pt x="-197" y="95173"/>
                  </a:cubicBezTo>
                  <a:cubicBezTo>
                    <a:pt x="-324" y="88618"/>
                    <a:pt x="1339" y="82151"/>
                    <a:pt x="4610" y="76469"/>
                  </a:cubicBezTo>
                  <a:cubicBezTo>
                    <a:pt x="7725" y="71135"/>
                    <a:pt x="12112" y="66647"/>
                    <a:pt x="17371" y="63408"/>
                  </a:cubicBezTo>
                  <a:cubicBezTo>
                    <a:pt x="23366" y="59865"/>
                    <a:pt x="29962" y="57466"/>
                    <a:pt x="36834" y="56339"/>
                  </a:cubicBezTo>
                  <a:cubicBezTo>
                    <a:pt x="45939" y="55012"/>
                    <a:pt x="55115" y="54261"/>
                    <a:pt x="64314" y="54084"/>
                  </a:cubicBezTo>
                  <a:cubicBezTo>
                    <a:pt x="74147" y="54122"/>
                    <a:pt x="83931" y="52680"/>
                    <a:pt x="93334" y="49811"/>
                  </a:cubicBezTo>
                  <a:cubicBezTo>
                    <a:pt x="94809" y="45074"/>
                    <a:pt x="95649" y="40161"/>
                    <a:pt x="95826" y="35203"/>
                  </a:cubicBezTo>
                  <a:cubicBezTo>
                    <a:pt x="96019" y="30632"/>
                    <a:pt x="93980" y="26249"/>
                    <a:pt x="90362" y="23446"/>
                  </a:cubicBezTo>
                  <a:cubicBezTo>
                    <a:pt x="83953" y="19069"/>
                    <a:pt x="76263" y="16980"/>
                    <a:pt x="68523" y="17510"/>
                  </a:cubicBezTo>
                  <a:cubicBezTo>
                    <a:pt x="60701" y="17173"/>
                    <a:pt x="52972" y="19268"/>
                    <a:pt x="46386" y="23507"/>
                  </a:cubicBezTo>
                  <a:cubicBezTo>
                    <a:pt x="40503" y="27702"/>
                    <a:pt x="36111" y="33677"/>
                    <a:pt x="33868" y="40548"/>
                  </a:cubicBezTo>
                  <a:lnTo>
                    <a:pt x="12145" y="38646"/>
                  </a:lnTo>
                  <a:cubicBezTo>
                    <a:pt x="15896" y="27050"/>
                    <a:pt x="23288" y="16969"/>
                    <a:pt x="33216" y="9905"/>
                  </a:cubicBezTo>
                  <a:cubicBezTo>
                    <a:pt x="44027" y="2918"/>
                    <a:pt x="56734" y="-553"/>
                    <a:pt x="69595" y="-44"/>
                  </a:cubicBezTo>
                  <a:cubicBezTo>
                    <a:pt x="82859" y="-763"/>
                    <a:pt x="95953" y="3184"/>
                    <a:pt x="106610" y="11121"/>
                  </a:cubicBezTo>
                  <a:cubicBezTo>
                    <a:pt x="113361" y="16228"/>
                    <a:pt x="117244" y="24270"/>
                    <a:pt x="117051" y="32732"/>
                  </a:cubicBezTo>
                  <a:cubicBezTo>
                    <a:pt x="116913" y="40614"/>
                    <a:pt x="115913" y="48457"/>
                    <a:pt x="114084" y="56123"/>
                  </a:cubicBezTo>
                  <a:lnTo>
                    <a:pt x="107085" y="87474"/>
                  </a:lnTo>
                  <a:cubicBezTo>
                    <a:pt x="105135" y="95444"/>
                    <a:pt x="104019" y="103591"/>
                    <a:pt x="103770" y="111793"/>
                  </a:cubicBezTo>
                  <a:cubicBezTo>
                    <a:pt x="104030" y="117569"/>
                    <a:pt x="104908" y="123301"/>
                    <a:pt x="106383" y="128889"/>
                  </a:cubicBezTo>
                  <a:lnTo>
                    <a:pt x="84683" y="128889"/>
                  </a:lnTo>
                  <a:cubicBezTo>
                    <a:pt x="83329" y="123760"/>
                    <a:pt x="82500" y="118514"/>
                    <a:pt x="82197" y="113219"/>
                  </a:cubicBezTo>
                  <a:close/>
                  <a:moveTo>
                    <a:pt x="90146" y="65011"/>
                  </a:moveTo>
                  <a:cubicBezTo>
                    <a:pt x="87019" y="66233"/>
                    <a:pt x="83777" y="67150"/>
                    <a:pt x="80473" y="67742"/>
                  </a:cubicBezTo>
                  <a:cubicBezTo>
                    <a:pt x="77031" y="68377"/>
                    <a:pt x="71275" y="69052"/>
                    <a:pt x="63203" y="69759"/>
                  </a:cubicBezTo>
                  <a:cubicBezTo>
                    <a:pt x="54259" y="70267"/>
                    <a:pt x="45392" y="71677"/>
                    <a:pt x="36735" y="73976"/>
                  </a:cubicBezTo>
                  <a:cubicBezTo>
                    <a:pt x="32083" y="75347"/>
                    <a:pt x="28012" y="78199"/>
                    <a:pt x="25133" y="82107"/>
                  </a:cubicBezTo>
                  <a:cubicBezTo>
                    <a:pt x="22559" y="85710"/>
                    <a:pt x="21189" y="90033"/>
                    <a:pt x="21216" y="94460"/>
                  </a:cubicBezTo>
                  <a:cubicBezTo>
                    <a:pt x="21045" y="100076"/>
                    <a:pt x="23321" y="105492"/>
                    <a:pt x="27448" y="109301"/>
                  </a:cubicBezTo>
                  <a:cubicBezTo>
                    <a:pt x="32387" y="113462"/>
                    <a:pt x="38751" y="115546"/>
                    <a:pt x="45193" y="115121"/>
                  </a:cubicBezTo>
                  <a:cubicBezTo>
                    <a:pt x="60170" y="114955"/>
                    <a:pt x="73926" y="106808"/>
                    <a:pt x="81274" y="93747"/>
                  </a:cubicBezTo>
                  <a:cubicBezTo>
                    <a:pt x="85799" y="84727"/>
                    <a:pt x="88798" y="75015"/>
                    <a:pt x="90141" y="6501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5CC35AD3-3245-4C99-8FD9-D496C6AD6F58}"/>
                </a:ext>
              </a:extLst>
            </p:cNvPr>
            <p:cNvSpPr/>
            <p:nvPr/>
          </p:nvSpPr>
          <p:spPr>
            <a:xfrm>
              <a:off x="6405508" y="4300156"/>
              <a:ext cx="64465" cy="174128"/>
            </a:xfrm>
            <a:custGeom>
              <a:avLst/>
              <a:gdLst>
                <a:gd name="connsiteX0" fmla="*/ 44427 w 64465"/>
                <a:gd name="connsiteY0" fmla="*/ 154364 h 174128"/>
                <a:gd name="connsiteX1" fmla="*/ 40864 w 64465"/>
                <a:gd name="connsiteY1" fmla="*/ 171940 h 174128"/>
                <a:gd name="connsiteX2" fmla="*/ 25909 w 64465"/>
                <a:gd name="connsiteY2" fmla="*/ 173957 h 174128"/>
                <a:gd name="connsiteX3" fmla="*/ 5496 w 64465"/>
                <a:gd name="connsiteY3" fmla="*/ 167662 h 174128"/>
                <a:gd name="connsiteX4" fmla="*/ -200 w 64465"/>
                <a:gd name="connsiteY4" fmla="*/ 154723 h 174128"/>
                <a:gd name="connsiteX5" fmla="*/ 2883 w 64465"/>
                <a:gd name="connsiteY5" fmla="*/ 135604 h 174128"/>
                <a:gd name="connsiteX6" fmla="*/ 18197 w 64465"/>
                <a:gd name="connsiteY6" fmla="*/ 62336 h 174128"/>
                <a:gd name="connsiteX7" fmla="*/ 1225 w 64465"/>
                <a:gd name="connsiteY7" fmla="*/ 62336 h 174128"/>
                <a:gd name="connsiteX8" fmla="*/ 4667 w 64465"/>
                <a:gd name="connsiteY8" fmla="*/ 45710 h 174128"/>
                <a:gd name="connsiteX9" fmla="*/ 21638 w 64465"/>
                <a:gd name="connsiteY9" fmla="*/ 45710 h 174128"/>
                <a:gd name="connsiteX10" fmla="*/ 28169 w 64465"/>
                <a:gd name="connsiteY10" fmla="*/ 14719 h 174128"/>
                <a:gd name="connsiteX11" fmla="*/ 52736 w 64465"/>
                <a:gd name="connsiteY11" fmla="*/ -128 h 174128"/>
                <a:gd name="connsiteX12" fmla="*/ 43124 w 64465"/>
                <a:gd name="connsiteY12" fmla="*/ 45710 h 174128"/>
                <a:gd name="connsiteX13" fmla="*/ 64250 w 64465"/>
                <a:gd name="connsiteY13" fmla="*/ 45710 h 174128"/>
                <a:gd name="connsiteX14" fmla="*/ 60686 w 64465"/>
                <a:gd name="connsiteY14" fmla="*/ 62336 h 174128"/>
                <a:gd name="connsiteX15" fmla="*/ 39693 w 64465"/>
                <a:gd name="connsiteY15" fmla="*/ 62336 h 174128"/>
                <a:gd name="connsiteX16" fmla="*/ 25091 w 64465"/>
                <a:gd name="connsiteY16" fmla="*/ 132039 h 174128"/>
                <a:gd name="connsiteX17" fmla="*/ 22362 w 64465"/>
                <a:gd name="connsiteY17" fmla="*/ 147952 h 174128"/>
                <a:gd name="connsiteX18" fmla="*/ 24572 w 64465"/>
                <a:gd name="connsiteY18" fmla="*/ 153772 h 174128"/>
                <a:gd name="connsiteX19" fmla="*/ 31754 w 64465"/>
                <a:gd name="connsiteY19" fmla="*/ 155790 h 174128"/>
                <a:gd name="connsiteX20" fmla="*/ 44427 w 64465"/>
                <a:gd name="connsiteY20" fmla="*/ 154364 h 17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65" h="174128">
                  <a:moveTo>
                    <a:pt x="44427" y="154364"/>
                  </a:moveTo>
                  <a:lnTo>
                    <a:pt x="40864" y="171940"/>
                  </a:lnTo>
                  <a:cubicBezTo>
                    <a:pt x="35986" y="173250"/>
                    <a:pt x="30958" y="173930"/>
                    <a:pt x="25909" y="173957"/>
                  </a:cubicBezTo>
                  <a:cubicBezTo>
                    <a:pt x="18572" y="174344"/>
                    <a:pt x="11341" y="172111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47" y="148283"/>
                    <a:pt x="1380" y="141889"/>
                    <a:pt x="2883" y="135604"/>
                  </a:cubicBezTo>
                  <a:lnTo>
                    <a:pt x="18197" y="62336"/>
                  </a:lnTo>
                  <a:lnTo>
                    <a:pt x="1225" y="62336"/>
                  </a:lnTo>
                  <a:lnTo>
                    <a:pt x="4667" y="45710"/>
                  </a:lnTo>
                  <a:lnTo>
                    <a:pt x="21638" y="45710"/>
                  </a:lnTo>
                  <a:lnTo>
                    <a:pt x="28169" y="14719"/>
                  </a:lnTo>
                  <a:lnTo>
                    <a:pt x="52736" y="-128"/>
                  </a:lnTo>
                  <a:lnTo>
                    <a:pt x="43124" y="45710"/>
                  </a:lnTo>
                  <a:lnTo>
                    <a:pt x="64250" y="45710"/>
                  </a:lnTo>
                  <a:lnTo>
                    <a:pt x="60686" y="62336"/>
                  </a:lnTo>
                  <a:lnTo>
                    <a:pt x="39693" y="62336"/>
                  </a:lnTo>
                  <a:lnTo>
                    <a:pt x="25091" y="132039"/>
                  </a:lnTo>
                  <a:cubicBezTo>
                    <a:pt x="23854" y="137284"/>
                    <a:pt x="22942" y="142596"/>
                    <a:pt x="22362" y="147952"/>
                  </a:cubicBezTo>
                  <a:cubicBezTo>
                    <a:pt x="22224" y="150119"/>
                    <a:pt x="23031" y="152241"/>
                    <a:pt x="24572" y="153772"/>
                  </a:cubicBezTo>
                  <a:cubicBezTo>
                    <a:pt x="26638" y="155309"/>
                    <a:pt x="29196" y="156027"/>
                    <a:pt x="31754" y="155790"/>
                  </a:cubicBezTo>
                  <a:cubicBezTo>
                    <a:pt x="36019" y="155839"/>
                    <a:pt x="40278" y="155364"/>
                    <a:pt x="44427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3C77D250-E616-4B9A-9BC1-EE41D4B35E0D}"/>
                </a:ext>
              </a:extLst>
            </p:cNvPr>
            <p:cNvSpPr/>
            <p:nvPr/>
          </p:nvSpPr>
          <p:spPr>
            <a:xfrm>
              <a:off x="6532468" y="4343043"/>
              <a:ext cx="189574" cy="129080"/>
            </a:xfrm>
            <a:custGeom>
              <a:avLst/>
              <a:gdLst>
                <a:gd name="connsiteX0" fmla="*/ -216 w 189574"/>
                <a:gd name="connsiteY0" fmla="*/ 128931 h 129080"/>
                <a:gd name="connsiteX1" fmla="*/ 26136 w 189574"/>
                <a:gd name="connsiteY1" fmla="*/ 2822 h 129080"/>
                <a:gd name="connsiteX2" fmla="*/ 47621 w 189574"/>
                <a:gd name="connsiteY2" fmla="*/ 2822 h 129080"/>
                <a:gd name="connsiteX3" fmla="*/ 43202 w 189574"/>
                <a:gd name="connsiteY3" fmla="*/ 23604 h 129080"/>
                <a:gd name="connsiteX4" fmla="*/ 64626 w 189574"/>
                <a:gd name="connsiteY4" fmla="*/ 5077 h 129080"/>
                <a:gd name="connsiteX5" fmla="*/ 85100 w 189574"/>
                <a:gd name="connsiteY5" fmla="*/ -30 h 129080"/>
                <a:gd name="connsiteX6" fmla="*/ 104740 w 189574"/>
                <a:gd name="connsiteY6" fmla="*/ 6205 h 129080"/>
                <a:gd name="connsiteX7" fmla="*/ 115126 w 189574"/>
                <a:gd name="connsiteY7" fmla="*/ 23604 h 129080"/>
                <a:gd name="connsiteX8" fmla="*/ 135363 w 189574"/>
                <a:gd name="connsiteY8" fmla="*/ 5851 h 129080"/>
                <a:gd name="connsiteX9" fmla="*/ 157737 w 189574"/>
                <a:gd name="connsiteY9" fmla="*/ -30 h 129080"/>
                <a:gd name="connsiteX10" fmla="*/ 181415 w 189574"/>
                <a:gd name="connsiteY10" fmla="*/ 7454 h 129080"/>
                <a:gd name="connsiteX11" fmla="*/ 189310 w 189574"/>
                <a:gd name="connsiteY11" fmla="*/ 28457 h 129080"/>
                <a:gd name="connsiteX12" fmla="*/ 186581 w 189574"/>
                <a:gd name="connsiteY12" fmla="*/ 47692 h 129080"/>
                <a:gd name="connsiteX13" fmla="*/ 169609 w 189574"/>
                <a:gd name="connsiteY13" fmla="*/ 128942 h 129080"/>
                <a:gd name="connsiteX14" fmla="*/ 148124 w 189574"/>
                <a:gd name="connsiteY14" fmla="*/ 128942 h 129080"/>
                <a:gd name="connsiteX15" fmla="*/ 165455 w 189574"/>
                <a:gd name="connsiteY15" fmla="*/ 45581 h 129080"/>
                <a:gd name="connsiteX16" fmla="*/ 167709 w 189574"/>
                <a:gd name="connsiteY16" fmla="*/ 30978 h 129080"/>
                <a:gd name="connsiteX17" fmla="*/ 163792 w 189574"/>
                <a:gd name="connsiteY17" fmla="*/ 21239 h 129080"/>
                <a:gd name="connsiteX18" fmla="*/ 152743 w 189574"/>
                <a:gd name="connsiteY18" fmla="*/ 17674 h 129080"/>
                <a:gd name="connsiteX19" fmla="*/ 133175 w 189574"/>
                <a:gd name="connsiteY19" fmla="*/ 23483 h 129080"/>
                <a:gd name="connsiteX20" fmla="*/ 117706 w 189574"/>
                <a:gd name="connsiteY20" fmla="*/ 38743 h 129080"/>
                <a:gd name="connsiteX21" fmla="*/ 108032 w 189574"/>
                <a:gd name="connsiteY21" fmla="*/ 67778 h 129080"/>
                <a:gd name="connsiteX22" fmla="*/ 95216 w 189574"/>
                <a:gd name="connsiteY22" fmla="*/ 128931 h 129080"/>
                <a:gd name="connsiteX23" fmla="*/ 73730 w 189574"/>
                <a:gd name="connsiteY23" fmla="*/ 128931 h 129080"/>
                <a:gd name="connsiteX24" fmla="*/ 91536 w 189574"/>
                <a:gd name="connsiteY24" fmla="*/ 43812 h 129080"/>
                <a:gd name="connsiteX25" fmla="*/ 93437 w 189574"/>
                <a:gd name="connsiteY25" fmla="*/ 31464 h 129080"/>
                <a:gd name="connsiteX26" fmla="*/ 89569 w 189574"/>
                <a:gd name="connsiteY26" fmla="*/ 21487 h 129080"/>
                <a:gd name="connsiteX27" fmla="*/ 79542 w 189574"/>
                <a:gd name="connsiteY27" fmla="*/ 17684 h 129080"/>
                <a:gd name="connsiteX28" fmla="*/ 60372 w 189574"/>
                <a:gd name="connsiteY28" fmla="*/ 23505 h 129080"/>
                <a:gd name="connsiteX29" fmla="*/ 44053 w 189574"/>
                <a:gd name="connsiteY29" fmla="*/ 39716 h 129080"/>
                <a:gd name="connsiteX30" fmla="*/ 33727 w 189574"/>
                <a:gd name="connsiteY30" fmla="*/ 69342 h 129080"/>
                <a:gd name="connsiteX31" fmla="*/ 21264 w 189574"/>
                <a:gd name="connsiteY31" fmla="*/ 128953 h 129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9574" h="129080">
                  <a:moveTo>
                    <a:pt x="-216" y="128931"/>
                  </a:moveTo>
                  <a:lnTo>
                    <a:pt x="26136" y="2822"/>
                  </a:lnTo>
                  <a:lnTo>
                    <a:pt x="47621" y="2822"/>
                  </a:lnTo>
                  <a:lnTo>
                    <a:pt x="43202" y="23604"/>
                  </a:lnTo>
                  <a:cubicBezTo>
                    <a:pt x="49268" y="16286"/>
                    <a:pt x="56510" y="10024"/>
                    <a:pt x="64626" y="5077"/>
                  </a:cubicBezTo>
                  <a:cubicBezTo>
                    <a:pt x="70913" y="1678"/>
                    <a:pt x="77957" y="-80"/>
                    <a:pt x="85100" y="-30"/>
                  </a:cubicBezTo>
                  <a:cubicBezTo>
                    <a:pt x="92171" y="-279"/>
                    <a:pt x="99105" y="1927"/>
                    <a:pt x="104740" y="6205"/>
                  </a:cubicBezTo>
                  <a:cubicBezTo>
                    <a:pt x="110143" y="10599"/>
                    <a:pt x="113822" y="16761"/>
                    <a:pt x="115126" y="23604"/>
                  </a:cubicBezTo>
                  <a:cubicBezTo>
                    <a:pt x="120667" y="16441"/>
                    <a:pt x="127540" y="10411"/>
                    <a:pt x="135363" y="5851"/>
                  </a:cubicBezTo>
                  <a:cubicBezTo>
                    <a:pt x="142191" y="1999"/>
                    <a:pt x="149898" y="-30"/>
                    <a:pt x="157737" y="-30"/>
                  </a:cubicBezTo>
                  <a:cubicBezTo>
                    <a:pt x="166300" y="-688"/>
                    <a:pt x="174786" y="1999"/>
                    <a:pt x="181415" y="7454"/>
                  </a:cubicBezTo>
                  <a:cubicBezTo>
                    <a:pt x="186907" y="13020"/>
                    <a:pt x="189774" y="20653"/>
                    <a:pt x="189310" y="28457"/>
                  </a:cubicBezTo>
                  <a:cubicBezTo>
                    <a:pt x="188962" y="34935"/>
                    <a:pt x="188050" y="41374"/>
                    <a:pt x="186581" y="47692"/>
                  </a:cubicBezTo>
                  <a:lnTo>
                    <a:pt x="169609" y="128942"/>
                  </a:lnTo>
                  <a:lnTo>
                    <a:pt x="148124" y="128942"/>
                  </a:lnTo>
                  <a:lnTo>
                    <a:pt x="165455" y="45581"/>
                  </a:lnTo>
                  <a:cubicBezTo>
                    <a:pt x="166665" y="40794"/>
                    <a:pt x="167416" y="35908"/>
                    <a:pt x="167709" y="30978"/>
                  </a:cubicBezTo>
                  <a:cubicBezTo>
                    <a:pt x="167891" y="27313"/>
                    <a:pt x="166460" y="23753"/>
                    <a:pt x="163792" y="21239"/>
                  </a:cubicBezTo>
                  <a:cubicBezTo>
                    <a:pt x="160693" y="18690"/>
                    <a:pt x="156743" y="17419"/>
                    <a:pt x="152743" y="17674"/>
                  </a:cubicBezTo>
                  <a:cubicBezTo>
                    <a:pt x="145821" y="17828"/>
                    <a:pt x="139064" y="19835"/>
                    <a:pt x="133175" y="23483"/>
                  </a:cubicBezTo>
                  <a:cubicBezTo>
                    <a:pt x="126772" y="27131"/>
                    <a:pt x="121440" y="32392"/>
                    <a:pt x="117706" y="38743"/>
                  </a:cubicBezTo>
                  <a:cubicBezTo>
                    <a:pt x="113043" y="47880"/>
                    <a:pt x="109784" y="57668"/>
                    <a:pt x="108032" y="67778"/>
                  </a:cubicBezTo>
                  <a:lnTo>
                    <a:pt x="95216" y="128931"/>
                  </a:lnTo>
                  <a:lnTo>
                    <a:pt x="73730" y="128931"/>
                  </a:lnTo>
                  <a:lnTo>
                    <a:pt x="91536" y="43812"/>
                  </a:lnTo>
                  <a:cubicBezTo>
                    <a:pt x="92552" y="39766"/>
                    <a:pt x="93188" y="35631"/>
                    <a:pt x="93437" y="31464"/>
                  </a:cubicBezTo>
                  <a:cubicBezTo>
                    <a:pt x="93586" y="27744"/>
                    <a:pt x="92188" y="24129"/>
                    <a:pt x="89569" y="21487"/>
                  </a:cubicBezTo>
                  <a:cubicBezTo>
                    <a:pt x="86884" y="18906"/>
                    <a:pt x="83260" y="17535"/>
                    <a:pt x="79542" y="17684"/>
                  </a:cubicBezTo>
                  <a:cubicBezTo>
                    <a:pt x="72747" y="17889"/>
                    <a:pt x="66134" y="19901"/>
                    <a:pt x="60372" y="23505"/>
                  </a:cubicBezTo>
                  <a:cubicBezTo>
                    <a:pt x="53638" y="27429"/>
                    <a:pt x="48025" y="33011"/>
                    <a:pt x="44053" y="39716"/>
                  </a:cubicBezTo>
                  <a:cubicBezTo>
                    <a:pt x="39020" y="48963"/>
                    <a:pt x="35534" y="58967"/>
                    <a:pt x="33727" y="69342"/>
                  </a:cubicBezTo>
                  <a:lnTo>
                    <a:pt x="21264" y="12895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xmlns="" id="{9AC6C981-3E47-4B59-BF0C-F4BEE67B14C5}"/>
                </a:ext>
              </a:extLst>
            </p:cNvPr>
            <p:cNvSpPr/>
            <p:nvPr/>
          </p:nvSpPr>
          <p:spPr>
            <a:xfrm>
              <a:off x="6736427" y="4343078"/>
              <a:ext cx="117279" cy="131914"/>
            </a:xfrm>
            <a:custGeom>
              <a:avLst/>
              <a:gdLst>
                <a:gd name="connsiteX0" fmla="*/ 82197 w 117279"/>
                <a:gd name="connsiteY0" fmla="*/ 113220 h 131914"/>
                <a:gd name="connsiteX1" fmla="*/ 60717 w 117279"/>
                <a:gd name="connsiteY1" fmla="*/ 127293 h 131914"/>
                <a:gd name="connsiteX2" fmla="*/ 38619 w 117279"/>
                <a:gd name="connsiteY2" fmla="*/ 131747 h 131914"/>
                <a:gd name="connsiteX3" fmla="*/ 10488 w 117279"/>
                <a:gd name="connsiteY3" fmla="*/ 121478 h 131914"/>
                <a:gd name="connsiteX4" fmla="*/ -197 w 117279"/>
                <a:gd name="connsiteY4" fmla="*/ 95174 h 131914"/>
                <a:gd name="connsiteX5" fmla="*/ 4609 w 117279"/>
                <a:gd name="connsiteY5" fmla="*/ 76470 h 131914"/>
                <a:gd name="connsiteX6" fmla="*/ 17371 w 117279"/>
                <a:gd name="connsiteY6" fmla="*/ 63409 h 131914"/>
                <a:gd name="connsiteX7" fmla="*/ 36834 w 117279"/>
                <a:gd name="connsiteY7" fmla="*/ 56340 h 131914"/>
                <a:gd name="connsiteX8" fmla="*/ 64314 w 117279"/>
                <a:gd name="connsiteY8" fmla="*/ 54085 h 131914"/>
                <a:gd name="connsiteX9" fmla="*/ 93334 w 117279"/>
                <a:gd name="connsiteY9" fmla="*/ 49812 h 131914"/>
                <a:gd name="connsiteX10" fmla="*/ 95826 w 117279"/>
                <a:gd name="connsiteY10" fmla="*/ 35204 h 131914"/>
                <a:gd name="connsiteX11" fmla="*/ 90367 w 117279"/>
                <a:gd name="connsiteY11" fmla="*/ 23447 h 131914"/>
                <a:gd name="connsiteX12" fmla="*/ 68529 w 117279"/>
                <a:gd name="connsiteY12" fmla="*/ 17511 h 131914"/>
                <a:gd name="connsiteX13" fmla="*/ 46392 w 117279"/>
                <a:gd name="connsiteY13" fmla="*/ 23509 h 131914"/>
                <a:gd name="connsiteX14" fmla="*/ 33868 w 117279"/>
                <a:gd name="connsiteY14" fmla="*/ 40549 h 131914"/>
                <a:gd name="connsiteX15" fmla="*/ 12151 w 117279"/>
                <a:gd name="connsiteY15" fmla="*/ 38647 h 131914"/>
                <a:gd name="connsiteX16" fmla="*/ 33216 w 117279"/>
                <a:gd name="connsiteY16" fmla="*/ 9906 h 131914"/>
                <a:gd name="connsiteX17" fmla="*/ 69595 w 117279"/>
                <a:gd name="connsiteY17" fmla="*/ -43 h 131914"/>
                <a:gd name="connsiteX18" fmla="*/ 106610 w 117279"/>
                <a:gd name="connsiteY18" fmla="*/ 11122 h 131914"/>
                <a:gd name="connsiteX19" fmla="*/ 117057 w 117279"/>
                <a:gd name="connsiteY19" fmla="*/ 32733 h 131914"/>
                <a:gd name="connsiteX20" fmla="*/ 114090 w 117279"/>
                <a:gd name="connsiteY20" fmla="*/ 56124 h 131914"/>
                <a:gd name="connsiteX21" fmla="*/ 107107 w 117279"/>
                <a:gd name="connsiteY21" fmla="*/ 87453 h 131914"/>
                <a:gd name="connsiteX22" fmla="*/ 103792 w 117279"/>
                <a:gd name="connsiteY22" fmla="*/ 111772 h 131914"/>
                <a:gd name="connsiteX23" fmla="*/ 106400 w 117279"/>
                <a:gd name="connsiteY23" fmla="*/ 128868 h 131914"/>
                <a:gd name="connsiteX24" fmla="*/ 84683 w 117279"/>
                <a:gd name="connsiteY24" fmla="*/ 128868 h 131914"/>
                <a:gd name="connsiteX25" fmla="*/ 82197 w 117279"/>
                <a:gd name="connsiteY25" fmla="*/ 113220 h 131914"/>
                <a:gd name="connsiteX26" fmla="*/ 90152 w 117279"/>
                <a:gd name="connsiteY26" fmla="*/ 65012 h 131914"/>
                <a:gd name="connsiteX27" fmla="*/ 80479 w 117279"/>
                <a:gd name="connsiteY27" fmla="*/ 67743 h 131914"/>
                <a:gd name="connsiteX28" fmla="*/ 63209 w 117279"/>
                <a:gd name="connsiteY28" fmla="*/ 69760 h 131914"/>
                <a:gd name="connsiteX29" fmla="*/ 36741 w 117279"/>
                <a:gd name="connsiteY29" fmla="*/ 73977 h 131914"/>
                <a:gd name="connsiteX30" fmla="*/ 25106 w 117279"/>
                <a:gd name="connsiteY30" fmla="*/ 82108 h 131914"/>
                <a:gd name="connsiteX31" fmla="*/ 21189 w 117279"/>
                <a:gd name="connsiteY31" fmla="*/ 94461 h 131914"/>
                <a:gd name="connsiteX32" fmla="*/ 27421 w 117279"/>
                <a:gd name="connsiteY32" fmla="*/ 109302 h 131914"/>
                <a:gd name="connsiteX33" fmla="*/ 45165 w 117279"/>
                <a:gd name="connsiteY33" fmla="*/ 115122 h 131914"/>
                <a:gd name="connsiteX34" fmla="*/ 81246 w 117279"/>
                <a:gd name="connsiteY34" fmla="*/ 93748 h 131914"/>
                <a:gd name="connsiteX35" fmla="*/ 90152 w 117279"/>
                <a:gd name="connsiteY35" fmla="*/ 65012 h 13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279" h="131914">
                  <a:moveTo>
                    <a:pt x="82197" y="113220"/>
                  </a:moveTo>
                  <a:cubicBezTo>
                    <a:pt x="75788" y="118969"/>
                    <a:pt x="68545" y="123716"/>
                    <a:pt x="60717" y="127293"/>
                  </a:cubicBezTo>
                  <a:cubicBezTo>
                    <a:pt x="53734" y="130283"/>
                    <a:pt x="46215" y="131797"/>
                    <a:pt x="38619" y="131747"/>
                  </a:cubicBezTo>
                  <a:cubicBezTo>
                    <a:pt x="28249" y="132217"/>
                    <a:pt x="18117" y="128520"/>
                    <a:pt x="10488" y="121478"/>
                  </a:cubicBezTo>
                  <a:cubicBezTo>
                    <a:pt x="3361" y="114624"/>
                    <a:pt x="-523" y="105062"/>
                    <a:pt x="-197" y="95174"/>
                  </a:cubicBezTo>
                  <a:cubicBezTo>
                    <a:pt x="-324" y="88619"/>
                    <a:pt x="1339" y="82152"/>
                    <a:pt x="4609" y="76470"/>
                  </a:cubicBezTo>
                  <a:cubicBezTo>
                    <a:pt x="7725" y="71136"/>
                    <a:pt x="12112" y="66648"/>
                    <a:pt x="17371" y="63409"/>
                  </a:cubicBezTo>
                  <a:cubicBezTo>
                    <a:pt x="23365" y="59866"/>
                    <a:pt x="29967" y="57473"/>
                    <a:pt x="36834" y="56340"/>
                  </a:cubicBezTo>
                  <a:cubicBezTo>
                    <a:pt x="45939" y="55013"/>
                    <a:pt x="55115" y="54262"/>
                    <a:pt x="64314" y="54085"/>
                  </a:cubicBezTo>
                  <a:cubicBezTo>
                    <a:pt x="74147" y="54123"/>
                    <a:pt x="83931" y="52681"/>
                    <a:pt x="93334" y="49812"/>
                  </a:cubicBezTo>
                  <a:cubicBezTo>
                    <a:pt x="94815" y="45076"/>
                    <a:pt x="95649" y="40162"/>
                    <a:pt x="95826" y="35204"/>
                  </a:cubicBezTo>
                  <a:cubicBezTo>
                    <a:pt x="96019" y="30633"/>
                    <a:pt x="93980" y="26250"/>
                    <a:pt x="90367" y="23447"/>
                  </a:cubicBezTo>
                  <a:cubicBezTo>
                    <a:pt x="83959" y="19076"/>
                    <a:pt x="76269" y="16981"/>
                    <a:pt x="68529" y="17511"/>
                  </a:cubicBezTo>
                  <a:cubicBezTo>
                    <a:pt x="60706" y="17174"/>
                    <a:pt x="52977" y="19269"/>
                    <a:pt x="46392" y="23509"/>
                  </a:cubicBezTo>
                  <a:cubicBezTo>
                    <a:pt x="40508" y="27709"/>
                    <a:pt x="36116" y="33678"/>
                    <a:pt x="33868" y="40549"/>
                  </a:cubicBezTo>
                  <a:lnTo>
                    <a:pt x="12151" y="38647"/>
                  </a:lnTo>
                  <a:cubicBezTo>
                    <a:pt x="15902" y="27051"/>
                    <a:pt x="23288" y="16970"/>
                    <a:pt x="33216" y="9906"/>
                  </a:cubicBezTo>
                  <a:cubicBezTo>
                    <a:pt x="44027" y="2919"/>
                    <a:pt x="56734" y="-552"/>
                    <a:pt x="69595" y="-43"/>
                  </a:cubicBezTo>
                  <a:cubicBezTo>
                    <a:pt x="82859" y="-767"/>
                    <a:pt x="95953" y="3185"/>
                    <a:pt x="106610" y="11122"/>
                  </a:cubicBezTo>
                  <a:cubicBezTo>
                    <a:pt x="113361" y="16229"/>
                    <a:pt x="117250" y="24266"/>
                    <a:pt x="117057" y="32733"/>
                  </a:cubicBezTo>
                  <a:cubicBezTo>
                    <a:pt x="116913" y="40615"/>
                    <a:pt x="115919" y="48458"/>
                    <a:pt x="114090" y="56124"/>
                  </a:cubicBezTo>
                  <a:lnTo>
                    <a:pt x="107107" y="87453"/>
                  </a:lnTo>
                  <a:cubicBezTo>
                    <a:pt x="105157" y="95423"/>
                    <a:pt x="104046" y="103570"/>
                    <a:pt x="103792" y="111772"/>
                  </a:cubicBezTo>
                  <a:cubicBezTo>
                    <a:pt x="104052" y="117548"/>
                    <a:pt x="104925" y="123280"/>
                    <a:pt x="106400" y="128868"/>
                  </a:cubicBezTo>
                  <a:lnTo>
                    <a:pt x="84683" y="128868"/>
                  </a:lnTo>
                  <a:cubicBezTo>
                    <a:pt x="83335" y="123750"/>
                    <a:pt x="82500" y="118504"/>
                    <a:pt x="82197" y="113220"/>
                  </a:cubicBezTo>
                  <a:close/>
                  <a:moveTo>
                    <a:pt x="90152" y="65012"/>
                  </a:moveTo>
                  <a:cubicBezTo>
                    <a:pt x="87025" y="66234"/>
                    <a:pt x="83782" y="67151"/>
                    <a:pt x="80479" y="67743"/>
                  </a:cubicBezTo>
                  <a:cubicBezTo>
                    <a:pt x="77037" y="68378"/>
                    <a:pt x="71280" y="69053"/>
                    <a:pt x="63209" y="69760"/>
                  </a:cubicBezTo>
                  <a:cubicBezTo>
                    <a:pt x="54264" y="70263"/>
                    <a:pt x="45398" y="71678"/>
                    <a:pt x="36741" y="73977"/>
                  </a:cubicBezTo>
                  <a:cubicBezTo>
                    <a:pt x="32078" y="75343"/>
                    <a:pt x="27990" y="78195"/>
                    <a:pt x="25106" y="82108"/>
                  </a:cubicBezTo>
                  <a:cubicBezTo>
                    <a:pt x="22537" y="85711"/>
                    <a:pt x="21161" y="90034"/>
                    <a:pt x="21189" y="94461"/>
                  </a:cubicBezTo>
                  <a:cubicBezTo>
                    <a:pt x="21018" y="100077"/>
                    <a:pt x="23294" y="105493"/>
                    <a:pt x="27421" y="109302"/>
                  </a:cubicBezTo>
                  <a:cubicBezTo>
                    <a:pt x="32365" y="113458"/>
                    <a:pt x="38724" y="115547"/>
                    <a:pt x="45165" y="115122"/>
                  </a:cubicBezTo>
                  <a:cubicBezTo>
                    <a:pt x="60142" y="114956"/>
                    <a:pt x="73899" y="106809"/>
                    <a:pt x="81246" y="93748"/>
                  </a:cubicBezTo>
                  <a:cubicBezTo>
                    <a:pt x="85782" y="84728"/>
                    <a:pt x="88793" y="75016"/>
                    <a:pt x="90152" y="6501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C33E3A2B-80CB-425D-AFA1-1252049BC558}"/>
                </a:ext>
              </a:extLst>
            </p:cNvPr>
            <p:cNvSpPr/>
            <p:nvPr/>
          </p:nvSpPr>
          <p:spPr>
            <a:xfrm>
              <a:off x="6873351" y="4300156"/>
              <a:ext cx="64515" cy="174129"/>
            </a:xfrm>
            <a:custGeom>
              <a:avLst/>
              <a:gdLst>
                <a:gd name="connsiteX0" fmla="*/ 44472 w 64515"/>
                <a:gd name="connsiteY0" fmla="*/ 154364 h 174129"/>
                <a:gd name="connsiteX1" fmla="*/ 40897 w 64515"/>
                <a:gd name="connsiteY1" fmla="*/ 171940 h 174129"/>
                <a:gd name="connsiteX2" fmla="*/ 25942 w 64515"/>
                <a:gd name="connsiteY2" fmla="*/ 173957 h 174129"/>
                <a:gd name="connsiteX3" fmla="*/ 5502 w 64515"/>
                <a:gd name="connsiteY3" fmla="*/ 167662 h 174129"/>
                <a:gd name="connsiteX4" fmla="*/ -200 w 64515"/>
                <a:gd name="connsiteY4" fmla="*/ 154723 h 174129"/>
                <a:gd name="connsiteX5" fmla="*/ 2888 w 64515"/>
                <a:gd name="connsiteY5" fmla="*/ 135604 h 174129"/>
                <a:gd name="connsiteX6" fmla="*/ 18247 w 64515"/>
                <a:gd name="connsiteY6" fmla="*/ 62336 h 174129"/>
                <a:gd name="connsiteX7" fmla="*/ 1275 w 64515"/>
                <a:gd name="connsiteY7" fmla="*/ 62336 h 174129"/>
                <a:gd name="connsiteX8" fmla="*/ 4717 w 64515"/>
                <a:gd name="connsiteY8" fmla="*/ 45710 h 174129"/>
                <a:gd name="connsiteX9" fmla="*/ 21688 w 64515"/>
                <a:gd name="connsiteY9" fmla="*/ 45710 h 174129"/>
                <a:gd name="connsiteX10" fmla="*/ 28219 w 64515"/>
                <a:gd name="connsiteY10" fmla="*/ 14719 h 174129"/>
                <a:gd name="connsiteX11" fmla="*/ 52786 w 64515"/>
                <a:gd name="connsiteY11" fmla="*/ -128 h 174129"/>
                <a:gd name="connsiteX12" fmla="*/ 43173 w 64515"/>
                <a:gd name="connsiteY12" fmla="*/ 45710 h 174129"/>
                <a:gd name="connsiteX13" fmla="*/ 64300 w 64515"/>
                <a:gd name="connsiteY13" fmla="*/ 45710 h 174129"/>
                <a:gd name="connsiteX14" fmla="*/ 60741 w 64515"/>
                <a:gd name="connsiteY14" fmla="*/ 62336 h 174129"/>
                <a:gd name="connsiteX15" fmla="*/ 39748 w 64515"/>
                <a:gd name="connsiteY15" fmla="*/ 62336 h 174129"/>
                <a:gd name="connsiteX16" fmla="*/ 25147 w 64515"/>
                <a:gd name="connsiteY16" fmla="*/ 132039 h 174129"/>
                <a:gd name="connsiteX17" fmla="*/ 22418 w 64515"/>
                <a:gd name="connsiteY17" fmla="*/ 147952 h 174129"/>
                <a:gd name="connsiteX18" fmla="*/ 24627 w 64515"/>
                <a:gd name="connsiteY18" fmla="*/ 153772 h 174129"/>
                <a:gd name="connsiteX19" fmla="*/ 31809 w 64515"/>
                <a:gd name="connsiteY19" fmla="*/ 155790 h 174129"/>
                <a:gd name="connsiteX20" fmla="*/ 44472 w 64515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515" h="174129">
                  <a:moveTo>
                    <a:pt x="44472" y="154364"/>
                  </a:moveTo>
                  <a:lnTo>
                    <a:pt x="40897" y="171940"/>
                  </a:lnTo>
                  <a:cubicBezTo>
                    <a:pt x="36019" y="173250"/>
                    <a:pt x="30992" y="173924"/>
                    <a:pt x="25942" y="173957"/>
                  </a:cubicBezTo>
                  <a:cubicBezTo>
                    <a:pt x="18600" y="174350"/>
                    <a:pt x="11352" y="172122"/>
                    <a:pt x="5502" y="167662"/>
                  </a:cubicBezTo>
                  <a:cubicBezTo>
                    <a:pt x="1690" y="164473"/>
                    <a:pt x="-421" y="159692"/>
                    <a:pt x="-200" y="154723"/>
                  </a:cubicBezTo>
                  <a:cubicBezTo>
                    <a:pt x="353" y="148283"/>
                    <a:pt x="1386" y="141889"/>
                    <a:pt x="2888" y="135604"/>
                  </a:cubicBezTo>
                  <a:lnTo>
                    <a:pt x="18247" y="62336"/>
                  </a:lnTo>
                  <a:lnTo>
                    <a:pt x="1275" y="62336"/>
                  </a:lnTo>
                  <a:lnTo>
                    <a:pt x="4717" y="45710"/>
                  </a:lnTo>
                  <a:lnTo>
                    <a:pt x="21688" y="45710"/>
                  </a:lnTo>
                  <a:lnTo>
                    <a:pt x="28219" y="14719"/>
                  </a:lnTo>
                  <a:lnTo>
                    <a:pt x="52786" y="-128"/>
                  </a:lnTo>
                  <a:lnTo>
                    <a:pt x="43173" y="45710"/>
                  </a:lnTo>
                  <a:lnTo>
                    <a:pt x="64300" y="45710"/>
                  </a:lnTo>
                  <a:lnTo>
                    <a:pt x="60741" y="62336"/>
                  </a:lnTo>
                  <a:lnTo>
                    <a:pt x="39748" y="62336"/>
                  </a:lnTo>
                  <a:lnTo>
                    <a:pt x="25147" y="132039"/>
                  </a:lnTo>
                  <a:cubicBezTo>
                    <a:pt x="23909" y="137284"/>
                    <a:pt x="22998" y="142596"/>
                    <a:pt x="22418" y="147952"/>
                  </a:cubicBezTo>
                  <a:cubicBezTo>
                    <a:pt x="22274" y="150119"/>
                    <a:pt x="23081" y="152246"/>
                    <a:pt x="24627" y="153772"/>
                  </a:cubicBezTo>
                  <a:cubicBezTo>
                    <a:pt x="26694" y="155309"/>
                    <a:pt x="29246" y="156027"/>
                    <a:pt x="31809" y="155790"/>
                  </a:cubicBezTo>
                  <a:cubicBezTo>
                    <a:pt x="36074" y="155839"/>
                    <a:pt x="40328" y="155364"/>
                    <a:pt x="44472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492E2DFE-DFC8-46DF-852F-9C5904B7AFC0}"/>
                </a:ext>
              </a:extLst>
            </p:cNvPr>
            <p:cNvSpPr/>
            <p:nvPr/>
          </p:nvSpPr>
          <p:spPr>
            <a:xfrm>
              <a:off x="6939695" y="4300156"/>
              <a:ext cx="64465" cy="174129"/>
            </a:xfrm>
            <a:custGeom>
              <a:avLst/>
              <a:gdLst>
                <a:gd name="connsiteX0" fmla="*/ 44449 w 64465"/>
                <a:gd name="connsiteY0" fmla="*/ 154364 h 174129"/>
                <a:gd name="connsiteX1" fmla="*/ 40892 w 64465"/>
                <a:gd name="connsiteY1" fmla="*/ 171940 h 174129"/>
                <a:gd name="connsiteX2" fmla="*/ 25937 w 64465"/>
                <a:gd name="connsiteY2" fmla="*/ 173957 h 174129"/>
                <a:gd name="connsiteX3" fmla="*/ 5496 w 64465"/>
                <a:gd name="connsiteY3" fmla="*/ 167662 h 174129"/>
                <a:gd name="connsiteX4" fmla="*/ -200 w 64465"/>
                <a:gd name="connsiteY4" fmla="*/ 154723 h 174129"/>
                <a:gd name="connsiteX5" fmla="*/ 2888 w 64465"/>
                <a:gd name="connsiteY5" fmla="*/ 135604 h 174129"/>
                <a:gd name="connsiteX6" fmla="*/ 18197 w 64465"/>
                <a:gd name="connsiteY6" fmla="*/ 62336 h 174129"/>
                <a:gd name="connsiteX7" fmla="*/ 1225 w 64465"/>
                <a:gd name="connsiteY7" fmla="*/ 62336 h 174129"/>
                <a:gd name="connsiteX8" fmla="*/ 4667 w 64465"/>
                <a:gd name="connsiteY8" fmla="*/ 45710 h 174129"/>
                <a:gd name="connsiteX9" fmla="*/ 21639 w 64465"/>
                <a:gd name="connsiteY9" fmla="*/ 45710 h 174129"/>
                <a:gd name="connsiteX10" fmla="*/ 28169 w 64465"/>
                <a:gd name="connsiteY10" fmla="*/ 14719 h 174129"/>
                <a:gd name="connsiteX11" fmla="*/ 52736 w 64465"/>
                <a:gd name="connsiteY11" fmla="*/ -128 h 174129"/>
                <a:gd name="connsiteX12" fmla="*/ 43124 w 64465"/>
                <a:gd name="connsiteY12" fmla="*/ 45710 h 174129"/>
                <a:gd name="connsiteX13" fmla="*/ 64250 w 64465"/>
                <a:gd name="connsiteY13" fmla="*/ 45710 h 174129"/>
                <a:gd name="connsiteX14" fmla="*/ 60692 w 64465"/>
                <a:gd name="connsiteY14" fmla="*/ 62336 h 174129"/>
                <a:gd name="connsiteX15" fmla="*/ 39698 w 64465"/>
                <a:gd name="connsiteY15" fmla="*/ 62336 h 174129"/>
                <a:gd name="connsiteX16" fmla="*/ 25097 w 64465"/>
                <a:gd name="connsiteY16" fmla="*/ 132039 h 174129"/>
                <a:gd name="connsiteX17" fmla="*/ 22368 w 64465"/>
                <a:gd name="connsiteY17" fmla="*/ 147952 h 174129"/>
                <a:gd name="connsiteX18" fmla="*/ 24578 w 64465"/>
                <a:gd name="connsiteY18" fmla="*/ 153772 h 174129"/>
                <a:gd name="connsiteX19" fmla="*/ 31759 w 64465"/>
                <a:gd name="connsiteY19" fmla="*/ 155790 h 174129"/>
                <a:gd name="connsiteX20" fmla="*/ 44449 w 64465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65" h="174129">
                  <a:moveTo>
                    <a:pt x="44449" y="154364"/>
                  </a:moveTo>
                  <a:lnTo>
                    <a:pt x="40892" y="171940"/>
                  </a:lnTo>
                  <a:cubicBezTo>
                    <a:pt x="36013" y="173250"/>
                    <a:pt x="30986" y="173924"/>
                    <a:pt x="25937" y="173957"/>
                  </a:cubicBezTo>
                  <a:cubicBezTo>
                    <a:pt x="18594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5" y="141889"/>
                    <a:pt x="2888" y="135604"/>
                  </a:cubicBezTo>
                  <a:lnTo>
                    <a:pt x="18197" y="62336"/>
                  </a:lnTo>
                  <a:lnTo>
                    <a:pt x="1225" y="62336"/>
                  </a:lnTo>
                  <a:lnTo>
                    <a:pt x="4667" y="45710"/>
                  </a:lnTo>
                  <a:lnTo>
                    <a:pt x="21639" y="45710"/>
                  </a:lnTo>
                  <a:lnTo>
                    <a:pt x="28169" y="14719"/>
                  </a:lnTo>
                  <a:lnTo>
                    <a:pt x="52736" y="-128"/>
                  </a:lnTo>
                  <a:lnTo>
                    <a:pt x="43124" y="45710"/>
                  </a:lnTo>
                  <a:lnTo>
                    <a:pt x="64250" y="45710"/>
                  </a:lnTo>
                  <a:lnTo>
                    <a:pt x="60692" y="62336"/>
                  </a:lnTo>
                  <a:lnTo>
                    <a:pt x="39698" y="62336"/>
                  </a:lnTo>
                  <a:lnTo>
                    <a:pt x="25097" y="132039"/>
                  </a:lnTo>
                  <a:cubicBezTo>
                    <a:pt x="23859" y="137284"/>
                    <a:pt x="22948" y="142596"/>
                    <a:pt x="22368" y="147952"/>
                  </a:cubicBezTo>
                  <a:cubicBezTo>
                    <a:pt x="22224" y="150119"/>
                    <a:pt x="23031" y="152246"/>
                    <a:pt x="24578" y="153772"/>
                  </a:cubicBezTo>
                  <a:cubicBezTo>
                    <a:pt x="26638" y="155309"/>
                    <a:pt x="29196" y="156027"/>
                    <a:pt x="31759" y="155790"/>
                  </a:cubicBezTo>
                  <a:cubicBezTo>
                    <a:pt x="36030" y="155845"/>
                    <a:pt x="40295" y="155364"/>
                    <a:pt x="44449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xmlns="" id="{683F25D5-32F4-4811-B3A0-0E5DD74ED1C7}"/>
                </a:ext>
              </a:extLst>
            </p:cNvPr>
            <p:cNvSpPr/>
            <p:nvPr/>
          </p:nvSpPr>
          <p:spPr>
            <a:xfrm>
              <a:off x="7004974" y="4343117"/>
              <a:ext cx="116761" cy="131848"/>
            </a:xfrm>
            <a:custGeom>
              <a:avLst/>
              <a:gdLst>
                <a:gd name="connsiteX0" fmla="*/ 87862 w 116761"/>
                <a:gd name="connsiteY0" fmla="*/ 85988 h 131848"/>
                <a:gd name="connsiteX1" fmla="*/ 108750 w 116761"/>
                <a:gd name="connsiteY1" fmla="*/ 88127 h 131848"/>
                <a:gd name="connsiteX2" fmla="*/ 88038 w 116761"/>
                <a:gd name="connsiteY2" fmla="*/ 117697 h 131848"/>
                <a:gd name="connsiteX3" fmla="*/ 49405 w 116761"/>
                <a:gd name="connsiteY3" fmla="*/ 131709 h 131848"/>
                <a:gd name="connsiteX4" fmla="*/ 23710 w 116761"/>
                <a:gd name="connsiteY4" fmla="*/ 125237 h 131848"/>
                <a:gd name="connsiteX5" fmla="*/ 5905 w 116761"/>
                <a:gd name="connsiteY5" fmla="*/ 106444 h 131848"/>
                <a:gd name="connsiteX6" fmla="*/ -206 w 116761"/>
                <a:gd name="connsiteY6" fmla="*/ 78300 h 131848"/>
                <a:gd name="connsiteX7" fmla="*/ 9346 w 116761"/>
                <a:gd name="connsiteY7" fmla="*/ 38222 h 131848"/>
                <a:gd name="connsiteX8" fmla="*/ 34096 w 116761"/>
                <a:gd name="connsiteY8" fmla="*/ 9364 h 131848"/>
                <a:gd name="connsiteX9" fmla="*/ 66973 w 116761"/>
                <a:gd name="connsiteY9" fmla="*/ -76 h 131848"/>
                <a:gd name="connsiteX10" fmla="*/ 102993 w 116761"/>
                <a:gd name="connsiteY10" fmla="*/ 13935 h 131848"/>
                <a:gd name="connsiteX11" fmla="*/ 116468 w 116761"/>
                <a:gd name="connsiteY11" fmla="*/ 52173 h 131848"/>
                <a:gd name="connsiteX12" fmla="*/ 114810 w 116761"/>
                <a:gd name="connsiteY12" fmla="*/ 71175 h 131848"/>
                <a:gd name="connsiteX13" fmla="*/ 21976 w 116761"/>
                <a:gd name="connsiteY13" fmla="*/ 71175 h 131848"/>
                <a:gd name="connsiteX14" fmla="*/ 21501 w 116761"/>
                <a:gd name="connsiteY14" fmla="*/ 77808 h 131848"/>
                <a:gd name="connsiteX15" fmla="*/ 29633 w 116761"/>
                <a:gd name="connsiteY15" fmla="*/ 104825 h 131848"/>
                <a:gd name="connsiteX16" fmla="*/ 49521 w 116761"/>
                <a:gd name="connsiteY16" fmla="*/ 114143 h 131848"/>
                <a:gd name="connsiteX17" fmla="*/ 71238 w 116761"/>
                <a:gd name="connsiteY17" fmla="*/ 106903 h 131848"/>
                <a:gd name="connsiteX18" fmla="*/ 87862 w 116761"/>
                <a:gd name="connsiteY18" fmla="*/ 85988 h 131848"/>
                <a:gd name="connsiteX19" fmla="*/ 25434 w 116761"/>
                <a:gd name="connsiteY19" fmla="*/ 54759 h 131848"/>
                <a:gd name="connsiteX20" fmla="*/ 96171 w 116761"/>
                <a:gd name="connsiteY20" fmla="*/ 54759 h 131848"/>
                <a:gd name="connsiteX21" fmla="*/ 96292 w 116761"/>
                <a:gd name="connsiteY21" fmla="*/ 50011 h 131848"/>
                <a:gd name="connsiteX22" fmla="*/ 88221 w 116761"/>
                <a:gd name="connsiteY22" fmla="*/ 25249 h 131848"/>
                <a:gd name="connsiteX23" fmla="*/ 67448 w 116761"/>
                <a:gd name="connsiteY23" fmla="*/ 16643 h 131848"/>
                <a:gd name="connsiteX24" fmla="*/ 42345 w 116761"/>
                <a:gd name="connsiteY24" fmla="*/ 26139 h 131848"/>
                <a:gd name="connsiteX25" fmla="*/ 25429 w 116761"/>
                <a:gd name="connsiteY25" fmla="*/ 5475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6761" h="131848">
                  <a:moveTo>
                    <a:pt x="87862" y="85988"/>
                  </a:moveTo>
                  <a:lnTo>
                    <a:pt x="108750" y="88127"/>
                  </a:lnTo>
                  <a:cubicBezTo>
                    <a:pt x="104866" y="99789"/>
                    <a:pt x="97668" y="110064"/>
                    <a:pt x="88038" y="117697"/>
                  </a:cubicBezTo>
                  <a:cubicBezTo>
                    <a:pt x="77343" y="127000"/>
                    <a:pt x="63576" y="131996"/>
                    <a:pt x="49405" y="131709"/>
                  </a:cubicBezTo>
                  <a:cubicBezTo>
                    <a:pt x="40428" y="131797"/>
                    <a:pt x="31577" y="129570"/>
                    <a:pt x="23710" y="125237"/>
                  </a:cubicBezTo>
                  <a:cubicBezTo>
                    <a:pt x="15965" y="120981"/>
                    <a:pt x="9739" y="114409"/>
                    <a:pt x="5905" y="106444"/>
                  </a:cubicBezTo>
                  <a:cubicBezTo>
                    <a:pt x="1706" y="97667"/>
                    <a:pt x="-382" y="88028"/>
                    <a:pt x="-206" y="78300"/>
                  </a:cubicBezTo>
                  <a:cubicBezTo>
                    <a:pt x="-172" y="64382"/>
                    <a:pt x="3098" y="50658"/>
                    <a:pt x="9346" y="38222"/>
                  </a:cubicBezTo>
                  <a:cubicBezTo>
                    <a:pt x="14694" y="26449"/>
                    <a:pt x="23279" y="16444"/>
                    <a:pt x="34096" y="9364"/>
                  </a:cubicBezTo>
                  <a:cubicBezTo>
                    <a:pt x="43936" y="3152"/>
                    <a:pt x="55339" y="-120"/>
                    <a:pt x="66973" y="-76"/>
                  </a:cubicBezTo>
                  <a:cubicBezTo>
                    <a:pt x="80420" y="-701"/>
                    <a:pt x="93502" y="4390"/>
                    <a:pt x="102993" y="13935"/>
                  </a:cubicBezTo>
                  <a:cubicBezTo>
                    <a:pt x="112385" y="24382"/>
                    <a:pt x="117230" y="38144"/>
                    <a:pt x="116468" y="52173"/>
                  </a:cubicBezTo>
                  <a:cubicBezTo>
                    <a:pt x="116451" y="58540"/>
                    <a:pt x="115899" y="64896"/>
                    <a:pt x="114810" y="71175"/>
                  </a:cubicBezTo>
                  <a:lnTo>
                    <a:pt x="21976" y="71175"/>
                  </a:lnTo>
                  <a:cubicBezTo>
                    <a:pt x="21677" y="73375"/>
                    <a:pt x="21517" y="75591"/>
                    <a:pt x="21501" y="77808"/>
                  </a:cubicBezTo>
                  <a:cubicBezTo>
                    <a:pt x="20832" y="87502"/>
                    <a:pt x="23727" y="97109"/>
                    <a:pt x="29633" y="104825"/>
                  </a:cubicBezTo>
                  <a:cubicBezTo>
                    <a:pt x="34511" y="110783"/>
                    <a:pt x="41825" y="114210"/>
                    <a:pt x="49521" y="114143"/>
                  </a:cubicBezTo>
                  <a:cubicBezTo>
                    <a:pt x="57327" y="114000"/>
                    <a:pt x="64907" y="111474"/>
                    <a:pt x="71238" y="106903"/>
                  </a:cubicBezTo>
                  <a:cubicBezTo>
                    <a:pt x="78680" y="101680"/>
                    <a:pt x="84453" y="94417"/>
                    <a:pt x="87862" y="85988"/>
                  </a:cubicBezTo>
                  <a:close/>
                  <a:moveTo>
                    <a:pt x="25434" y="54759"/>
                  </a:moveTo>
                  <a:lnTo>
                    <a:pt x="96171" y="54759"/>
                  </a:lnTo>
                  <a:cubicBezTo>
                    <a:pt x="96248" y="52548"/>
                    <a:pt x="96292" y="50962"/>
                    <a:pt x="96292" y="50011"/>
                  </a:cubicBezTo>
                  <a:cubicBezTo>
                    <a:pt x="96894" y="41024"/>
                    <a:pt x="94005" y="32153"/>
                    <a:pt x="88221" y="25249"/>
                  </a:cubicBezTo>
                  <a:cubicBezTo>
                    <a:pt x="82856" y="19523"/>
                    <a:pt x="75288" y="16384"/>
                    <a:pt x="67448" y="16643"/>
                  </a:cubicBezTo>
                  <a:cubicBezTo>
                    <a:pt x="58206" y="16666"/>
                    <a:pt x="49289" y="20037"/>
                    <a:pt x="42345" y="26139"/>
                  </a:cubicBezTo>
                  <a:cubicBezTo>
                    <a:pt x="33986" y="33783"/>
                    <a:pt x="28097" y="43749"/>
                    <a:pt x="25429" y="54759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BB152D0C-E801-4942-A6D5-2FBA71C7D1D9}"/>
                </a:ext>
              </a:extLst>
            </p:cNvPr>
            <p:cNvSpPr/>
            <p:nvPr/>
          </p:nvSpPr>
          <p:spPr>
            <a:xfrm>
              <a:off x="7134446" y="4343141"/>
              <a:ext cx="93884" cy="128960"/>
            </a:xfrm>
            <a:custGeom>
              <a:avLst/>
              <a:gdLst>
                <a:gd name="connsiteX0" fmla="*/ -216 w 93884"/>
                <a:gd name="connsiteY0" fmla="*/ 128833 h 128960"/>
                <a:gd name="connsiteX1" fmla="*/ 26136 w 93884"/>
                <a:gd name="connsiteY1" fmla="*/ 2724 h 128960"/>
                <a:gd name="connsiteX2" fmla="*/ 45124 w 93884"/>
                <a:gd name="connsiteY2" fmla="*/ 2724 h 128960"/>
                <a:gd name="connsiteX3" fmla="*/ 39788 w 93884"/>
                <a:gd name="connsiteY3" fmla="*/ 28492 h 128960"/>
                <a:gd name="connsiteX4" fmla="*/ 58836 w 93884"/>
                <a:gd name="connsiteY4" fmla="*/ 6881 h 128960"/>
                <a:gd name="connsiteX5" fmla="*/ 77885 w 93884"/>
                <a:gd name="connsiteY5" fmla="*/ -128 h 128960"/>
                <a:gd name="connsiteX6" fmla="*/ 93669 w 93884"/>
                <a:gd name="connsiteY6" fmla="*/ 4504 h 128960"/>
                <a:gd name="connsiteX7" fmla="*/ 84890 w 93884"/>
                <a:gd name="connsiteY7" fmla="*/ 24452 h 128960"/>
                <a:gd name="connsiteX8" fmla="*/ 72664 w 93884"/>
                <a:gd name="connsiteY8" fmla="*/ 20417 h 128960"/>
                <a:gd name="connsiteX9" fmla="*/ 49516 w 93884"/>
                <a:gd name="connsiteY9" fmla="*/ 33002 h 128960"/>
                <a:gd name="connsiteX10" fmla="*/ 30882 w 93884"/>
                <a:gd name="connsiteY10" fmla="*/ 78248 h 128960"/>
                <a:gd name="connsiteX11" fmla="*/ 20203 w 93884"/>
                <a:gd name="connsiteY11" fmla="*/ 128833 h 12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84" h="128960">
                  <a:moveTo>
                    <a:pt x="-216" y="128833"/>
                  </a:moveTo>
                  <a:lnTo>
                    <a:pt x="26136" y="2724"/>
                  </a:lnTo>
                  <a:lnTo>
                    <a:pt x="45124" y="2724"/>
                  </a:lnTo>
                  <a:lnTo>
                    <a:pt x="39788" y="28492"/>
                  </a:lnTo>
                  <a:cubicBezTo>
                    <a:pt x="44898" y="20284"/>
                    <a:pt x="51340" y="12983"/>
                    <a:pt x="58836" y="6881"/>
                  </a:cubicBezTo>
                  <a:cubicBezTo>
                    <a:pt x="64234" y="2503"/>
                    <a:pt x="70935" y="38"/>
                    <a:pt x="77885" y="-128"/>
                  </a:cubicBezTo>
                  <a:cubicBezTo>
                    <a:pt x="83426" y="226"/>
                    <a:pt x="88818" y="1807"/>
                    <a:pt x="93669" y="4504"/>
                  </a:cubicBezTo>
                  <a:lnTo>
                    <a:pt x="84890" y="24452"/>
                  </a:lnTo>
                  <a:cubicBezTo>
                    <a:pt x="81354" y="21826"/>
                    <a:pt x="77067" y="20412"/>
                    <a:pt x="72664" y="20417"/>
                  </a:cubicBezTo>
                  <a:cubicBezTo>
                    <a:pt x="65140" y="20417"/>
                    <a:pt x="57422" y="24612"/>
                    <a:pt x="49516" y="33002"/>
                  </a:cubicBezTo>
                  <a:cubicBezTo>
                    <a:pt x="41611" y="41393"/>
                    <a:pt x="35396" y="56476"/>
                    <a:pt x="30882" y="78248"/>
                  </a:cubicBezTo>
                  <a:lnTo>
                    <a:pt x="20203" y="12883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65190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81642055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ux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659066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nerg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17565765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rimar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427898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oll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524488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Na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6382691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xtru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838869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09695518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4558189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77712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89734913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9213823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5406685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80552474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09188353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4053984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Societ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5307509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C93C7F9E-972C-48C9-9FE1-5AE34014CE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72949015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38"/>
            <a:ext cx="5364163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xmlns="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34909265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5" y="1989138"/>
            <a:ext cx="3384550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xmlns="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xmlns="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3" y="1989138"/>
            <a:ext cx="3421062" cy="41767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3885332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2457">
          <p15:clr>
            <a:srgbClr val="FBAE40"/>
          </p15:clr>
        </p15:guide>
        <p15:guide id="2" pos="2774">
          <p15:clr>
            <a:srgbClr val="FBAE40"/>
          </p15:clr>
        </p15:guide>
        <p15:guide id="3" pos="4906">
          <p15:clr>
            <a:srgbClr val="FBAE40"/>
          </p15:clr>
        </p15:guide>
        <p15:guide id="4" pos="5223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xmlns="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94144564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2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1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3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xmlns="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6165850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3675456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xmlns="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xmlns="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81411392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4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xmlns="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5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xmlns="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xmlns="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4" y="6165850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710024409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xmlns="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xmlns="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xmlns="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xmlns="" id="{8CF44C50-B85B-4B46-BE46-2E5252CBA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892164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xmlns="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8129833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32272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noProof="0"/>
              <a:t>Master-Untertitelformat bearbeiten</a:t>
            </a:r>
            <a:endParaRPr lang="en-US" noProof="0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xmlns="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xmlns="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485661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xmlns="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16305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3190571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xmlns="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77426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xmlns="" id="{B78FF7BB-52BA-46DA-B9EB-95E8C58644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1438" y="1931307"/>
            <a:ext cx="1889125" cy="2555875"/>
            <a:chOff x="3245" y="1308"/>
            <a:chExt cx="1190" cy="1610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xmlns="" id="{C32C34FE-B266-41B3-99FD-10A6A3BB6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5" y="2082"/>
              <a:ext cx="261" cy="332"/>
            </a:xfrm>
            <a:custGeom>
              <a:avLst/>
              <a:gdLst>
                <a:gd name="T0" fmla="*/ 59 w 261"/>
                <a:gd name="T1" fmla="*/ 186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6 h 332"/>
                <a:gd name="T24" fmla="*/ 59 w 261"/>
                <a:gd name="T25" fmla="*/ 186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6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6"/>
                  </a:lnTo>
                  <a:lnTo>
                    <a:pt x="59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xmlns="" id="{44AA8273-7C2A-4952-AF3B-2788676D6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9" y="2170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xmlns="" id="{4108DB83-089F-4451-A0B4-8FA566C499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4" y="2082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xmlns="" id="{0C10B8BB-C7A6-43F7-A731-7F4C2FD63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1" y="2163"/>
              <a:ext cx="125" cy="251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xmlns="" id="{41A95C0A-7801-459A-82FF-F3100804E8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81" y="2161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xmlns="" id="{EA367DC1-733B-4ED9-B170-8E5AEA94D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29" y="1308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xmlns="" id="{E2240389-001B-45C7-85B9-467EB92E4A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47" y="2809"/>
              <a:ext cx="1188" cy="109"/>
            </a:xfrm>
            <a:custGeom>
              <a:avLst/>
              <a:gdLst>
                <a:gd name="T0" fmla="*/ 652 w 687"/>
                <a:gd name="T1" fmla="*/ 24 h 63"/>
                <a:gd name="T2" fmla="*/ 662 w 687"/>
                <a:gd name="T3" fmla="*/ 30 h 63"/>
                <a:gd name="T4" fmla="*/ 673 w 687"/>
                <a:gd name="T5" fmla="*/ 62 h 63"/>
                <a:gd name="T6" fmla="*/ 668 w 687"/>
                <a:gd name="T7" fmla="*/ 18 h 63"/>
                <a:gd name="T8" fmla="*/ 637 w 687"/>
                <a:gd name="T9" fmla="*/ 17 h 63"/>
                <a:gd name="T10" fmla="*/ 617 w 687"/>
                <a:gd name="T11" fmla="*/ 17 h 63"/>
                <a:gd name="T12" fmla="*/ 588 w 687"/>
                <a:gd name="T13" fmla="*/ 56 h 63"/>
                <a:gd name="T14" fmla="*/ 575 w 687"/>
                <a:gd name="T15" fmla="*/ 43 h 63"/>
                <a:gd name="T16" fmla="*/ 559 w 687"/>
                <a:gd name="T17" fmla="*/ 62 h 63"/>
                <a:gd name="T18" fmla="*/ 559 w 687"/>
                <a:gd name="T19" fmla="*/ 62 h 63"/>
                <a:gd name="T20" fmla="*/ 563 w 687"/>
                <a:gd name="T21" fmla="*/ 9 h 63"/>
                <a:gd name="T22" fmla="*/ 537 w 687"/>
                <a:gd name="T23" fmla="*/ 24 h 63"/>
                <a:gd name="T24" fmla="*/ 546 w 687"/>
                <a:gd name="T25" fmla="*/ 27 h 63"/>
                <a:gd name="T26" fmla="*/ 513 w 687"/>
                <a:gd name="T27" fmla="*/ 17 h 63"/>
                <a:gd name="T28" fmla="*/ 493 w 687"/>
                <a:gd name="T29" fmla="*/ 17 h 63"/>
                <a:gd name="T30" fmla="*/ 504 w 687"/>
                <a:gd name="T31" fmla="*/ 0 h 63"/>
                <a:gd name="T32" fmla="*/ 424 w 687"/>
                <a:gd name="T33" fmla="*/ 41 h 63"/>
                <a:gd name="T34" fmla="*/ 444 w 687"/>
                <a:gd name="T35" fmla="*/ 32 h 63"/>
                <a:gd name="T36" fmla="*/ 466 w 687"/>
                <a:gd name="T37" fmla="*/ 22 h 63"/>
                <a:gd name="T38" fmla="*/ 478 w 687"/>
                <a:gd name="T39" fmla="*/ 33 h 63"/>
                <a:gd name="T40" fmla="*/ 449 w 687"/>
                <a:gd name="T41" fmla="*/ 18 h 63"/>
                <a:gd name="T42" fmla="*/ 412 w 687"/>
                <a:gd name="T43" fmla="*/ 62 h 63"/>
                <a:gd name="T44" fmla="*/ 397 w 687"/>
                <a:gd name="T45" fmla="*/ 36 h 63"/>
                <a:gd name="T46" fmla="*/ 373 w 687"/>
                <a:gd name="T47" fmla="*/ 51 h 63"/>
                <a:gd name="T48" fmla="*/ 369 w 687"/>
                <a:gd name="T49" fmla="*/ 60 h 63"/>
                <a:gd name="T50" fmla="*/ 364 w 687"/>
                <a:gd name="T51" fmla="*/ 0 h 63"/>
                <a:gd name="T52" fmla="*/ 319 w 687"/>
                <a:gd name="T53" fmla="*/ 55 h 63"/>
                <a:gd name="T54" fmla="*/ 319 w 687"/>
                <a:gd name="T55" fmla="*/ 41 h 63"/>
                <a:gd name="T56" fmla="*/ 333 w 687"/>
                <a:gd name="T57" fmla="*/ 56 h 63"/>
                <a:gd name="T58" fmla="*/ 308 w 687"/>
                <a:gd name="T59" fmla="*/ 20 h 63"/>
                <a:gd name="T60" fmla="*/ 330 w 687"/>
                <a:gd name="T61" fmla="*/ 28 h 63"/>
                <a:gd name="T62" fmla="*/ 296 w 687"/>
                <a:gd name="T63" fmla="*/ 50 h 63"/>
                <a:gd name="T64" fmla="*/ 239 w 687"/>
                <a:gd name="T65" fmla="*/ 25 h 63"/>
                <a:gd name="T66" fmla="*/ 239 w 687"/>
                <a:gd name="T67" fmla="*/ 25 h 63"/>
                <a:gd name="T68" fmla="*/ 265 w 687"/>
                <a:gd name="T69" fmla="*/ 41 h 63"/>
                <a:gd name="T70" fmla="*/ 224 w 687"/>
                <a:gd name="T71" fmla="*/ 44 h 63"/>
                <a:gd name="T72" fmla="*/ 255 w 687"/>
                <a:gd name="T73" fmla="*/ 47 h 63"/>
                <a:gd name="T74" fmla="*/ 223 w 687"/>
                <a:gd name="T75" fmla="*/ 25 h 63"/>
                <a:gd name="T76" fmla="*/ 203 w 687"/>
                <a:gd name="T77" fmla="*/ 17 h 63"/>
                <a:gd name="T78" fmla="*/ 155 w 687"/>
                <a:gd name="T79" fmla="*/ 55 h 63"/>
                <a:gd name="T80" fmla="*/ 178 w 687"/>
                <a:gd name="T81" fmla="*/ 39 h 63"/>
                <a:gd name="T82" fmla="*/ 186 w 687"/>
                <a:gd name="T83" fmla="*/ 36 h 63"/>
                <a:gd name="T84" fmla="*/ 158 w 687"/>
                <a:gd name="T85" fmla="*/ 30 h 63"/>
                <a:gd name="T86" fmla="*/ 169 w 687"/>
                <a:gd name="T87" fmla="*/ 35 h 63"/>
                <a:gd name="T88" fmla="*/ 159 w 687"/>
                <a:gd name="T89" fmla="*/ 63 h 63"/>
                <a:gd name="T90" fmla="*/ 105 w 687"/>
                <a:gd name="T91" fmla="*/ 25 h 63"/>
                <a:gd name="T92" fmla="*/ 91 w 687"/>
                <a:gd name="T93" fmla="*/ 56 h 63"/>
                <a:gd name="T94" fmla="*/ 110 w 687"/>
                <a:gd name="T95" fmla="*/ 21 h 63"/>
                <a:gd name="T96" fmla="*/ 82 w 687"/>
                <a:gd name="T97" fmla="*/ 60 h 63"/>
                <a:gd name="T98" fmla="*/ 12 w 687"/>
                <a:gd name="T99" fmla="*/ 62 h 63"/>
                <a:gd name="T100" fmla="*/ 80 w 687"/>
                <a:gd name="T101" fmla="*/ 0 h 63"/>
                <a:gd name="T102" fmla="*/ 45 w 687"/>
                <a:gd name="T103" fmla="*/ 0 h 63"/>
                <a:gd name="T104" fmla="*/ 9 w 687"/>
                <a:gd name="T105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7" h="63">
                  <a:moveTo>
                    <a:pt x="628" y="62"/>
                  </a:moveTo>
                  <a:cubicBezTo>
                    <a:pt x="632" y="41"/>
                    <a:pt x="632" y="41"/>
                    <a:pt x="632" y="41"/>
                  </a:cubicBezTo>
                  <a:cubicBezTo>
                    <a:pt x="633" y="36"/>
                    <a:pt x="634" y="33"/>
                    <a:pt x="636" y="30"/>
                  </a:cubicBezTo>
                  <a:cubicBezTo>
                    <a:pt x="637" y="28"/>
                    <a:pt x="639" y="26"/>
                    <a:pt x="641" y="24"/>
                  </a:cubicBezTo>
                  <a:cubicBezTo>
                    <a:pt x="644" y="23"/>
                    <a:pt x="646" y="22"/>
                    <a:pt x="648" y="22"/>
                  </a:cubicBezTo>
                  <a:cubicBezTo>
                    <a:pt x="650" y="22"/>
                    <a:pt x="651" y="23"/>
                    <a:pt x="652" y="24"/>
                  </a:cubicBezTo>
                  <a:cubicBezTo>
                    <a:pt x="653" y="24"/>
                    <a:pt x="653" y="26"/>
                    <a:pt x="653" y="27"/>
                  </a:cubicBezTo>
                  <a:cubicBezTo>
                    <a:pt x="653" y="28"/>
                    <a:pt x="653" y="29"/>
                    <a:pt x="652" y="32"/>
                  </a:cubicBezTo>
                  <a:cubicBezTo>
                    <a:pt x="646" y="62"/>
                    <a:pt x="646" y="62"/>
                    <a:pt x="646" y="62"/>
                  </a:cubicBezTo>
                  <a:cubicBezTo>
                    <a:pt x="654" y="62"/>
                    <a:pt x="654" y="62"/>
                    <a:pt x="654" y="62"/>
                  </a:cubicBezTo>
                  <a:cubicBezTo>
                    <a:pt x="658" y="40"/>
                    <a:pt x="658" y="40"/>
                    <a:pt x="658" y="40"/>
                  </a:cubicBezTo>
                  <a:cubicBezTo>
                    <a:pt x="659" y="35"/>
                    <a:pt x="660" y="32"/>
                    <a:pt x="662" y="30"/>
                  </a:cubicBezTo>
                  <a:cubicBezTo>
                    <a:pt x="663" y="27"/>
                    <a:pt x="665" y="26"/>
                    <a:pt x="667" y="24"/>
                  </a:cubicBezTo>
                  <a:cubicBezTo>
                    <a:pt x="670" y="23"/>
                    <a:pt x="672" y="22"/>
                    <a:pt x="674" y="22"/>
                  </a:cubicBezTo>
                  <a:cubicBezTo>
                    <a:pt x="676" y="22"/>
                    <a:pt x="677" y="23"/>
                    <a:pt x="678" y="24"/>
                  </a:cubicBezTo>
                  <a:cubicBezTo>
                    <a:pt x="679" y="24"/>
                    <a:pt x="680" y="25"/>
                    <a:pt x="680" y="27"/>
                  </a:cubicBezTo>
                  <a:cubicBezTo>
                    <a:pt x="680" y="28"/>
                    <a:pt x="679" y="30"/>
                    <a:pt x="679" y="32"/>
                  </a:cubicBezTo>
                  <a:cubicBezTo>
                    <a:pt x="673" y="62"/>
                    <a:pt x="673" y="62"/>
                    <a:pt x="673" y="62"/>
                  </a:cubicBezTo>
                  <a:cubicBezTo>
                    <a:pt x="680" y="62"/>
                    <a:pt x="680" y="62"/>
                    <a:pt x="680" y="62"/>
                  </a:cubicBezTo>
                  <a:cubicBezTo>
                    <a:pt x="686" y="33"/>
                    <a:pt x="686" y="33"/>
                    <a:pt x="686" y="33"/>
                  </a:cubicBezTo>
                  <a:cubicBezTo>
                    <a:pt x="687" y="30"/>
                    <a:pt x="687" y="27"/>
                    <a:pt x="687" y="26"/>
                  </a:cubicBezTo>
                  <a:cubicBezTo>
                    <a:pt x="687" y="23"/>
                    <a:pt x="686" y="20"/>
                    <a:pt x="684" y="19"/>
                  </a:cubicBezTo>
                  <a:cubicBezTo>
                    <a:pt x="683" y="17"/>
                    <a:pt x="680" y="16"/>
                    <a:pt x="676" y="16"/>
                  </a:cubicBezTo>
                  <a:cubicBezTo>
                    <a:pt x="673" y="16"/>
                    <a:pt x="671" y="17"/>
                    <a:pt x="668" y="18"/>
                  </a:cubicBezTo>
                  <a:cubicBezTo>
                    <a:pt x="666" y="19"/>
                    <a:pt x="663" y="22"/>
                    <a:pt x="661" y="24"/>
                  </a:cubicBezTo>
                  <a:cubicBezTo>
                    <a:pt x="660" y="22"/>
                    <a:pt x="659" y="20"/>
                    <a:pt x="657" y="18"/>
                  </a:cubicBezTo>
                  <a:cubicBezTo>
                    <a:pt x="655" y="17"/>
                    <a:pt x="653" y="16"/>
                    <a:pt x="650" y="16"/>
                  </a:cubicBezTo>
                  <a:cubicBezTo>
                    <a:pt x="648" y="16"/>
                    <a:pt x="645" y="17"/>
                    <a:pt x="643" y="18"/>
                  </a:cubicBezTo>
                  <a:cubicBezTo>
                    <a:pt x="641" y="19"/>
                    <a:pt x="638" y="21"/>
                    <a:pt x="635" y="24"/>
                  </a:cubicBezTo>
                  <a:cubicBezTo>
                    <a:pt x="637" y="17"/>
                    <a:pt x="637" y="17"/>
                    <a:pt x="637" y="17"/>
                  </a:cubicBezTo>
                  <a:cubicBezTo>
                    <a:pt x="629" y="17"/>
                    <a:pt x="629" y="17"/>
                    <a:pt x="629" y="17"/>
                  </a:cubicBezTo>
                  <a:cubicBezTo>
                    <a:pt x="620" y="62"/>
                    <a:pt x="620" y="62"/>
                    <a:pt x="620" y="62"/>
                  </a:cubicBezTo>
                  <a:lnTo>
                    <a:pt x="628" y="62"/>
                  </a:lnTo>
                  <a:close/>
                  <a:moveTo>
                    <a:pt x="600" y="62"/>
                  </a:moveTo>
                  <a:cubicBezTo>
                    <a:pt x="607" y="62"/>
                    <a:pt x="607" y="62"/>
                    <a:pt x="607" y="62"/>
                  </a:cubicBezTo>
                  <a:cubicBezTo>
                    <a:pt x="617" y="17"/>
                    <a:pt x="617" y="17"/>
                    <a:pt x="617" y="17"/>
                  </a:cubicBezTo>
                  <a:cubicBezTo>
                    <a:pt x="609" y="17"/>
                    <a:pt x="609" y="17"/>
                    <a:pt x="609" y="17"/>
                  </a:cubicBezTo>
                  <a:cubicBezTo>
                    <a:pt x="605" y="36"/>
                    <a:pt x="605" y="36"/>
                    <a:pt x="605" y="36"/>
                  </a:cubicBezTo>
                  <a:cubicBezTo>
                    <a:pt x="604" y="40"/>
                    <a:pt x="604" y="43"/>
                    <a:pt x="603" y="44"/>
                  </a:cubicBezTo>
                  <a:cubicBezTo>
                    <a:pt x="602" y="47"/>
                    <a:pt x="601" y="49"/>
                    <a:pt x="599" y="51"/>
                  </a:cubicBezTo>
                  <a:cubicBezTo>
                    <a:pt x="598" y="52"/>
                    <a:pt x="596" y="54"/>
                    <a:pt x="594" y="55"/>
                  </a:cubicBezTo>
                  <a:cubicBezTo>
                    <a:pt x="592" y="56"/>
                    <a:pt x="590" y="56"/>
                    <a:pt x="588" y="56"/>
                  </a:cubicBezTo>
                  <a:cubicBezTo>
                    <a:pt x="586" y="56"/>
                    <a:pt x="584" y="56"/>
                    <a:pt x="583" y="55"/>
                  </a:cubicBezTo>
                  <a:cubicBezTo>
                    <a:pt x="582" y="54"/>
                    <a:pt x="582" y="53"/>
                    <a:pt x="582" y="51"/>
                  </a:cubicBezTo>
                  <a:cubicBezTo>
                    <a:pt x="582" y="50"/>
                    <a:pt x="582" y="48"/>
                    <a:pt x="583" y="46"/>
                  </a:cubicBezTo>
                  <a:cubicBezTo>
                    <a:pt x="589" y="17"/>
                    <a:pt x="589" y="17"/>
                    <a:pt x="589" y="17"/>
                  </a:cubicBezTo>
                  <a:cubicBezTo>
                    <a:pt x="581" y="17"/>
                    <a:pt x="581" y="17"/>
                    <a:pt x="581" y="17"/>
                  </a:cubicBezTo>
                  <a:cubicBezTo>
                    <a:pt x="575" y="43"/>
                    <a:pt x="575" y="43"/>
                    <a:pt x="575" y="43"/>
                  </a:cubicBezTo>
                  <a:cubicBezTo>
                    <a:pt x="575" y="47"/>
                    <a:pt x="574" y="51"/>
                    <a:pt x="574" y="52"/>
                  </a:cubicBezTo>
                  <a:cubicBezTo>
                    <a:pt x="574" y="55"/>
                    <a:pt x="575" y="58"/>
                    <a:pt x="577" y="60"/>
                  </a:cubicBezTo>
                  <a:cubicBezTo>
                    <a:pt x="579" y="62"/>
                    <a:pt x="582" y="63"/>
                    <a:pt x="586" y="63"/>
                  </a:cubicBezTo>
                  <a:cubicBezTo>
                    <a:pt x="591" y="63"/>
                    <a:pt x="597" y="60"/>
                    <a:pt x="602" y="54"/>
                  </a:cubicBezTo>
                  <a:lnTo>
                    <a:pt x="600" y="62"/>
                  </a:lnTo>
                  <a:close/>
                  <a:moveTo>
                    <a:pt x="559" y="62"/>
                  </a:moveTo>
                  <a:cubicBezTo>
                    <a:pt x="565" y="34"/>
                    <a:pt x="565" y="34"/>
                    <a:pt x="565" y="34"/>
                  </a:cubicBezTo>
                  <a:cubicBezTo>
                    <a:pt x="569" y="17"/>
                    <a:pt x="569" y="17"/>
                    <a:pt x="569" y="17"/>
                  </a:cubicBezTo>
                  <a:cubicBezTo>
                    <a:pt x="561" y="17"/>
                    <a:pt x="561" y="17"/>
                    <a:pt x="561" y="17"/>
                  </a:cubicBezTo>
                  <a:cubicBezTo>
                    <a:pt x="557" y="34"/>
                    <a:pt x="557" y="34"/>
                    <a:pt x="557" y="34"/>
                  </a:cubicBezTo>
                  <a:cubicBezTo>
                    <a:pt x="552" y="62"/>
                    <a:pt x="552" y="62"/>
                    <a:pt x="552" y="62"/>
                  </a:cubicBezTo>
                  <a:lnTo>
                    <a:pt x="559" y="62"/>
                  </a:lnTo>
                  <a:close/>
                  <a:moveTo>
                    <a:pt x="570" y="9"/>
                  </a:moveTo>
                  <a:cubicBezTo>
                    <a:pt x="571" y="4"/>
                    <a:pt x="571" y="4"/>
                    <a:pt x="571" y="4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4" y="4"/>
                    <a:pt x="564" y="4"/>
                    <a:pt x="564" y="4"/>
                  </a:cubicBezTo>
                  <a:cubicBezTo>
                    <a:pt x="563" y="9"/>
                    <a:pt x="563" y="9"/>
                    <a:pt x="563" y="9"/>
                  </a:cubicBezTo>
                  <a:lnTo>
                    <a:pt x="570" y="9"/>
                  </a:lnTo>
                  <a:close/>
                  <a:moveTo>
                    <a:pt x="511" y="62"/>
                  </a:moveTo>
                  <a:cubicBezTo>
                    <a:pt x="515" y="41"/>
                    <a:pt x="515" y="41"/>
                    <a:pt x="515" y="41"/>
                  </a:cubicBezTo>
                  <a:cubicBezTo>
                    <a:pt x="517" y="34"/>
                    <a:pt x="519" y="29"/>
                    <a:pt x="522" y="26"/>
                  </a:cubicBezTo>
                  <a:cubicBezTo>
                    <a:pt x="525" y="24"/>
                    <a:pt x="529" y="22"/>
                    <a:pt x="533" y="22"/>
                  </a:cubicBezTo>
                  <a:cubicBezTo>
                    <a:pt x="535" y="22"/>
                    <a:pt x="536" y="23"/>
                    <a:pt x="537" y="24"/>
                  </a:cubicBezTo>
                  <a:cubicBezTo>
                    <a:pt x="538" y="25"/>
                    <a:pt x="539" y="26"/>
                    <a:pt x="539" y="27"/>
                  </a:cubicBezTo>
                  <a:cubicBezTo>
                    <a:pt x="539" y="29"/>
                    <a:pt x="538" y="31"/>
                    <a:pt x="538" y="33"/>
                  </a:cubicBezTo>
                  <a:cubicBezTo>
                    <a:pt x="532" y="62"/>
                    <a:pt x="532" y="62"/>
                    <a:pt x="532" y="62"/>
                  </a:cubicBezTo>
                  <a:cubicBezTo>
                    <a:pt x="539" y="62"/>
                    <a:pt x="539" y="62"/>
                    <a:pt x="539" y="62"/>
                  </a:cubicBezTo>
                  <a:cubicBezTo>
                    <a:pt x="545" y="35"/>
                    <a:pt x="545" y="35"/>
                    <a:pt x="545" y="35"/>
                  </a:cubicBezTo>
                  <a:cubicBezTo>
                    <a:pt x="546" y="31"/>
                    <a:pt x="546" y="28"/>
                    <a:pt x="546" y="27"/>
                  </a:cubicBezTo>
                  <a:cubicBezTo>
                    <a:pt x="546" y="24"/>
                    <a:pt x="545" y="21"/>
                    <a:pt x="543" y="19"/>
                  </a:cubicBezTo>
                  <a:cubicBezTo>
                    <a:pt x="541" y="17"/>
                    <a:pt x="538" y="16"/>
                    <a:pt x="535" y="16"/>
                  </a:cubicBezTo>
                  <a:cubicBezTo>
                    <a:pt x="532" y="16"/>
                    <a:pt x="529" y="17"/>
                    <a:pt x="527" y="18"/>
                  </a:cubicBezTo>
                  <a:cubicBezTo>
                    <a:pt x="524" y="19"/>
                    <a:pt x="521" y="22"/>
                    <a:pt x="518" y="25"/>
                  </a:cubicBezTo>
                  <a:cubicBezTo>
                    <a:pt x="520" y="17"/>
                    <a:pt x="520" y="17"/>
                    <a:pt x="520" y="17"/>
                  </a:cubicBezTo>
                  <a:cubicBezTo>
                    <a:pt x="513" y="17"/>
                    <a:pt x="513" y="17"/>
                    <a:pt x="513" y="17"/>
                  </a:cubicBezTo>
                  <a:cubicBezTo>
                    <a:pt x="504" y="62"/>
                    <a:pt x="504" y="62"/>
                    <a:pt x="504" y="62"/>
                  </a:cubicBezTo>
                  <a:lnTo>
                    <a:pt x="511" y="62"/>
                  </a:lnTo>
                  <a:close/>
                  <a:moveTo>
                    <a:pt x="491" y="62"/>
                  </a:moveTo>
                  <a:cubicBezTo>
                    <a:pt x="497" y="36"/>
                    <a:pt x="497" y="36"/>
                    <a:pt x="497" y="36"/>
                  </a:cubicBezTo>
                  <a:cubicBezTo>
                    <a:pt x="501" y="17"/>
                    <a:pt x="501" y="17"/>
                    <a:pt x="501" y="17"/>
                  </a:cubicBezTo>
                  <a:cubicBezTo>
                    <a:pt x="493" y="17"/>
                    <a:pt x="493" y="17"/>
                    <a:pt x="493" y="17"/>
                  </a:cubicBezTo>
                  <a:cubicBezTo>
                    <a:pt x="489" y="36"/>
                    <a:pt x="489" y="36"/>
                    <a:pt x="489" y="36"/>
                  </a:cubicBezTo>
                  <a:cubicBezTo>
                    <a:pt x="484" y="62"/>
                    <a:pt x="484" y="62"/>
                    <a:pt x="484" y="62"/>
                  </a:cubicBezTo>
                  <a:lnTo>
                    <a:pt x="491" y="62"/>
                  </a:lnTo>
                  <a:close/>
                  <a:moveTo>
                    <a:pt x="502" y="9"/>
                  </a:moveTo>
                  <a:cubicBezTo>
                    <a:pt x="503" y="5"/>
                    <a:pt x="503" y="5"/>
                    <a:pt x="503" y="5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96" y="4"/>
                    <a:pt x="496" y="4"/>
                    <a:pt x="496" y="4"/>
                  </a:cubicBezTo>
                  <a:cubicBezTo>
                    <a:pt x="495" y="9"/>
                    <a:pt x="495" y="9"/>
                    <a:pt x="495" y="9"/>
                  </a:cubicBezTo>
                  <a:lnTo>
                    <a:pt x="502" y="9"/>
                  </a:lnTo>
                  <a:close/>
                  <a:moveTo>
                    <a:pt x="419" y="62"/>
                  </a:moveTo>
                  <a:cubicBezTo>
                    <a:pt x="424" y="41"/>
                    <a:pt x="424" y="41"/>
                    <a:pt x="424" y="41"/>
                  </a:cubicBezTo>
                  <a:cubicBezTo>
                    <a:pt x="425" y="36"/>
                    <a:pt x="426" y="33"/>
                    <a:pt x="427" y="30"/>
                  </a:cubicBezTo>
                  <a:cubicBezTo>
                    <a:pt x="429" y="28"/>
                    <a:pt x="431" y="26"/>
                    <a:pt x="433" y="24"/>
                  </a:cubicBezTo>
                  <a:cubicBezTo>
                    <a:pt x="435" y="23"/>
                    <a:pt x="438" y="22"/>
                    <a:pt x="440" y="22"/>
                  </a:cubicBezTo>
                  <a:cubicBezTo>
                    <a:pt x="441" y="22"/>
                    <a:pt x="443" y="23"/>
                    <a:pt x="443" y="24"/>
                  </a:cubicBezTo>
                  <a:cubicBezTo>
                    <a:pt x="444" y="24"/>
                    <a:pt x="445" y="26"/>
                    <a:pt x="445" y="27"/>
                  </a:cubicBezTo>
                  <a:cubicBezTo>
                    <a:pt x="445" y="28"/>
                    <a:pt x="445" y="29"/>
                    <a:pt x="444" y="32"/>
                  </a:cubicBezTo>
                  <a:cubicBezTo>
                    <a:pt x="438" y="62"/>
                    <a:pt x="438" y="62"/>
                    <a:pt x="438" y="62"/>
                  </a:cubicBezTo>
                  <a:cubicBezTo>
                    <a:pt x="445" y="62"/>
                    <a:pt x="445" y="62"/>
                    <a:pt x="445" y="62"/>
                  </a:cubicBezTo>
                  <a:cubicBezTo>
                    <a:pt x="450" y="40"/>
                    <a:pt x="450" y="40"/>
                    <a:pt x="450" y="40"/>
                  </a:cubicBezTo>
                  <a:cubicBezTo>
                    <a:pt x="451" y="35"/>
                    <a:pt x="452" y="32"/>
                    <a:pt x="453" y="30"/>
                  </a:cubicBezTo>
                  <a:cubicBezTo>
                    <a:pt x="455" y="27"/>
                    <a:pt x="457" y="26"/>
                    <a:pt x="459" y="24"/>
                  </a:cubicBezTo>
                  <a:cubicBezTo>
                    <a:pt x="461" y="23"/>
                    <a:pt x="464" y="22"/>
                    <a:pt x="466" y="22"/>
                  </a:cubicBezTo>
                  <a:cubicBezTo>
                    <a:pt x="468" y="22"/>
                    <a:pt x="469" y="23"/>
                    <a:pt x="470" y="24"/>
                  </a:cubicBezTo>
                  <a:cubicBezTo>
                    <a:pt x="471" y="24"/>
                    <a:pt x="471" y="25"/>
                    <a:pt x="471" y="27"/>
                  </a:cubicBezTo>
                  <a:cubicBezTo>
                    <a:pt x="471" y="28"/>
                    <a:pt x="471" y="30"/>
                    <a:pt x="470" y="3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72" y="62"/>
                    <a:pt x="472" y="62"/>
                    <a:pt x="472" y="62"/>
                  </a:cubicBezTo>
                  <a:cubicBezTo>
                    <a:pt x="478" y="33"/>
                    <a:pt x="478" y="33"/>
                    <a:pt x="478" y="33"/>
                  </a:cubicBezTo>
                  <a:cubicBezTo>
                    <a:pt x="479" y="30"/>
                    <a:pt x="479" y="27"/>
                    <a:pt x="479" y="26"/>
                  </a:cubicBezTo>
                  <a:cubicBezTo>
                    <a:pt x="479" y="23"/>
                    <a:pt x="478" y="20"/>
                    <a:pt x="476" y="19"/>
                  </a:cubicBezTo>
                  <a:cubicBezTo>
                    <a:pt x="474" y="17"/>
                    <a:pt x="471" y="16"/>
                    <a:pt x="468" y="16"/>
                  </a:cubicBezTo>
                  <a:cubicBezTo>
                    <a:pt x="465" y="16"/>
                    <a:pt x="462" y="17"/>
                    <a:pt x="460" y="18"/>
                  </a:cubicBezTo>
                  <a:cubicBezTo>
                    <a:pt x="457" y="19"/>
                    <a:pt x="455" y="22"/>
                    <a:pt x="453" y="24"/>
                  </a:cubicBezTo>
                  <a:cubicBezTo>
                    <a:pt x="452" y="22"/>
                    <a:pt x="451" y="20"/>
                    <a:pt x="449" y="18"/>
                  </a:cubicBezTo>
                  <a:cubicBezTo>
                    <a:pt x="447" y="17"/>
                    <a:pt x="445" y="16"/>
                    <a:pt x="442" y="16"/>
                  </a:cubicBezTo>
                  <a:cubicBezTo>
                    <a:pt x="439" y="16"/>
                    <a:pt x="437" y="17"/>
                    <a:pt x="435" y="18"/>
                  </a:cubicBezTo>
                  <a:cubicBezTo>
                    <a:pt x="432" y="19"/>
                    <a:pt x="430" y="21"/>
                    <a:pt x="427" y="24"/>
                  </a:cubicBezTo>
                  <a:cubicBezTo>
                    <a:pt x="429" y="17"/>
                    <a:pt x="429" y="17"/>
                    <a:pt x="429" y="17"/>
                  </a:cubicBezTo>
                  <a:cubicBezTo>
                    <a:pt x="421" y="17"/>
                    <a:pt x="421" y="17"/>
                    <a:pt x="421" y="17"/>
                  </a:cubicBezTo>
                  <a:cubicBezTo>
                    <a:pt x="412" y="62"/>
                    <a:pt x="412" y="62"/>
                    <a:pt x="412" y="62"/>
                  </a:cubicBezTo>
                  <a:lnTo>
                    <a:pt x="419" y="62"/>
                  </a:lnTo>
                  <a:close/>
                  <a:moveTo>
                    <a:pt x="392" y="62"/>
                  </a:moveTo>
                  <a:cubicBezTo>
                    <a:pt x="399" y="62"/>
                    <a:pt x="399" y="62"/>
                    <a:pt x="399" y="62"/>
                  </a:cubicBezTo>
                  <a:cubicBezTo>
                    <a:pt x="408" y="17"/>
                    <a:pt x="408" y="17"/>
                    <a:pt x="408" y="17"/>
                  </a:cubicBezTo>
                  <a:cubicBezTo>
                    <a:pt x="401" y="17"/>
                    <a:pt x="401" y="17"/>
                    <a:pt x="401" y="17"/>
                  </a:cubicBezTo>
                  <a:cubicBezTo>
                    <a:pt x="397" y="36"/>
                    <a:pt x="397" y="36"/>
                    <a:pt x="397" y="36"/>
                  </a:cubicBezTo>
                  <a:cubicBezTo>
                    <a:pt x="396" y="40"/>
                    <a:pt x="395" y="43"/>
                    <a:pt x="395" y="44"/>
                  </a:cubicBezTo>
                  <a:cubicBezTo>
                    <a:pt x="394" y="47"/>
                    <a:pt x="392" y="49"/>
                    <a:pt x="391" y="51"/>
                  </a:cubicBezTo>
                  <a:cubicBezTo>
                    <a:pt x="390" y="52"/>
                    <a:pt x="388" y="54"/>
                    <a:pt x="386" y="55"/>
                  </a:cubicBezTo>
                  <a:cubicBezTo>
                    <a:pt x="384" y="56"/>
                    <a:pt x="382" y="56"/>
                    <a:pt x="379" y="56"/>
                  </a:cubicBezTo>
                  <a:cubicBezTo>
                    <a:pt x="377" y="56"/>
                    <a:pt x="376" y="56"/>
                    <a:pt x="375" y="55"/>
                  </a:cubicBezTo>
                  <a:cubicBezTo>
                    <a:pt x="374" y="54"/>
                    <a:pt x="373" y="53"/>
                    <a:pt x="373" y="51"/>
                  </a:cubicBezTo>
                  <a:cubicBezTo>
                    <a:pt x="373" y="50"/>
                    <a:pt x="374" y="48"/>
                    <a:pt x="374" y="46"/>
                  </a:cubicBezTo>
                  <a:cubicBezTo>
                    <a:pt x="380" y="17"/>
                    <a:pt x="380" y="17"/>
                    <a:pt x="380" y="1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7" y="43"/>
                    <a:pt x="367" y="43"/>
                    <a:pt x="367" y="43"/>
                  </a:cubicBezTo>
                  <a:cubicBezTo>
                    <a:pt x="366" y="47"/>
                    <a:pt x="366" y="51"/>
                    <a:pt x="366" y="52"/>
                  </a:cubicBezTo>
                  <a:cubicBezTo>
                    <a:pt x="366" y="55"/>
                    <a:pt x="367" y="58"/>
                    <a:pt x="369" y="60"/>
                  </a:cubicBezTo>
                  <a:cubicBezTo>
                    <a:pt x="371" y="62"/>
                    <a:pt x="374" y="63"/>
                    <a:pt x="377" y="63"/>
                  </a:cubicBezTo>
                  <a:cubicBezTo>
                    <a:pt x="383" y="63"/>
                    <a:pt x="388" y="60"/>
                    <a:pt x="394" y="54"/>
                  </a:cubicBezTo>
                  <a:lnTo>
                    <a:pt x="392" y="62"/>
                  </a:lnTo>
                  <a:close/>
                  <a:moveTo>
                    <a:pt x="351" y="62"/>
                  </a:moveTo>
                  <a:cubicBezTo>
                    <a:pt x="358" y="28"/>
                    <a:pt x="358" y="28"/>
                    <a:pt x="358" y="28"/>
                  </a:cubicBezTo>
                  <a:cubicBezTo>
                    <a:pt x="364" y="0"/>
                    <a:pt x="364" y="0"/>
                    <a:pt x="364" y="0"/>
                  </a:cubicBezTo>
                  <a:cubicBezTo>
                    <a:pt x="356" y="0"/>
                    <a:pt x="356" y="0"/>
                    <a:pt x="356" y="0"/>
                  </a:cubicBezTo>
                  <a:cubicBezTo>
                    <a:pt x="350" y="27"/>
                    <a:pt x="350" y="27"/>
                    <a:pt x="350" y="27"/>
                  </a:cubicBezTo>
                  <a:cubicBezTo>
                    <a:pt x="343" y="62"/>
                    <a:pt x="343" y="62"/>
                    <a:pt x="343" y="62"/>
                  </a:cubicBezTo>
                  <a:lnTo>
                    <a:pt x="351" y="62"/>
                  </a:lnTo>
                  <a:close/>
                  <a:moveTo>
                    <a:pt x="325" y="49"/>
                  </a:moveTo>
                  <a:cubicBezTo>
                    <a:pt x="324" y="52"/>
                    <a:pt x="322" y="53"/>
                    <a:pt x="319" y="55"/>
                  </a:cubicBezTo>
                  <a:cubicBezTo>
                    <a:pt x="317" y="56"/>
                    <a:pt x="315" y="57"/>
                    <a:pt x="312" y="57"/>
                  </a:cubicBezTo>
                  <a:cubicBezTo>
                    <a:pt x="309" y="57"/>
                    <a:pt x="307" y="56"/>
                    <a:pt x="306" y="55"/>
                  </a:cubicBezTo>
                  <a:cubicBezTo>
                    <a:pt x="304" y="53"/>
                    <a:pt x="304" y="52"/>
                    <a:pt x="304" y="49"/>
                  </a:cubicBezTo>
                  <a:cubicBezTo>
                    <a:pt x="304" y="48"/>
                    <a:pt x="304" y="46"/>
                    <a:pt x="305" y="45"/>
                  </a:cubicBezTo>
                  <a:cubicBezTo>
                    <a:pt x="306" y="44"/>
                    <a:pt x="307" y="43"/>
                    <a:pt x="309" y="42"/>
                  </a:cubicBezTo>
                  <a:cubicBezTo>
                    <a:pt x="311" y="42"/>
                    <a:pt x="314" y="41"/>
                    <a:pt x="319" y="41"/>
                  </a:cubicBezTo>
                  <a:cubicBezTo>
                    <a:pt x="321" y="40"/>
                    <a:pt x="323" y="40"/>
                    <a:pt x="325" y="40"/>
                  </a:cubicBezTo>
                  <a:cubicBezTo>
                    <a:pt x="326" y="40"/>
                    <a:pt x="327" y="39"/>
                    <a:pt x="328" y="39"/>
                  </a:cubicBezTo>
                  <a:cubicBezTo>
                    <a:pt x="327" y="43"/>
                    <a:pt x="326" y="47"/>
                    <a:pt x="325" y="49"/>
                  </a:cubicBezTo>
                  <a:moveTo>
                    <a:pt x="326" y="62"/>
                  </a:moveTo>
                  <a:cubicBezTo>
                    <a:pt x="334" y="62"/>
                    <a:pt x="334" y="62"/>
                    <a:pt x="334" y="62"/>
                  </a:cubicBezTo>
                  <a:cubicBezTo>
                    <a:pt x="333" y="59"/>
                    <a:pt x="333" y="57"/>
                    <a:pt x="333" y="56"/>
                  </a:cubicBezTo>
                  <a:cubicBezTo>
                    <a:pt x="333" y="53"/>
                    <a:pt x="333" y="51"/>
                    <a:pt x="334" y="47"/>
                  </a:cubicBezTo>
                  <a:cubicBezTo>
                    <a:pt x="337" y="36"/>
                    <a:pt x="337" y="36"/>
                    <a:pt x="337" y="36"/>
                  </a:cubicBezTo>
                  <a:cubicBezTo>
                    <a:pt x="337" y="33"/>
                    <a:pt x="338" y="30"/>
                    <a:pt x="338" y="28"/>
                  </a:cubicBezTo>
                  <a:cubicBezTo>
                    <a:pt x="338" y="24"/>
                    <a:pt x="336" y="22"/>
                    <a:pt x="334" y="20"/>
                  </a:cubicBezTo>
                  <a:cubicBezTo>
                    <a:pt x="331" y="17"/>
                    <a:pt x="326" y="16"/>
                    <a:pt x="321" y="16"/>
                  </a:cubicBezTo>
                  <a:cubicBezTo>
                    <a:pt x="316" y="16"/>
                    <a:pt x="311" y="17"/>
                    <a:pt x="308" y="20"/>
                  </a:cubicBezTo>
                  <a:cubicBezTo>
                    <a:pt x="305" y="22"/>
                    <a:pt x="302" y="25"/>
                    <a:pt x="300" y="30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309" y="28"/>
                    <a:pt x="311" y="26"/>
                    <a:pt x="313" y="24"/>
                  </a:cubicBezTo>
                  <a:cubicBezTo>
                    <a:pt x="315" y="23"/>
                    <a:pt x="317" y="22"/>
                    <a:pt x="320" y="22"/>
                  </a:cubicBezTo>
                  <a:cubicBezTo>
                    <a:pt x="324" y="22"/>
                    <a:pt x="326" y="23"/>
                    <a:pt x="328" y="24"/>
                  </a:cubicBezTo>
                  <a:cubicBezTo>
                    <a:pt x="330" y="25"/>
                    <a:pt x="330" y="27"/>
                    <a:pt x="330" y="28"/>
                  </a:cubicBezTo>
                  <a:cubicBezTo>
                    <a:pt x="330" y="30"/>
                    <a:pt x="330" y="32"/>
                    <a:pt x="329" y="34"/>
                  </a:cubicBezTo>
                  <a:cubicBezTo>
                    <a:pt x="327" y="34"/>
                    <a:pt x="324" y="35"/>
                    <a:pt x="319" y="35"/>
                  </a:cubicBezTo>
                  <a:cubicBezTo>
                    <a:pt x="314" y="35"/>
                    <a:pt x="311" y="36"/>
                    <a:pt x="309" y="36"/>
                  </a:cubicBezTo>
                  <a:cubicBezTo>
                    <a:pt x="307" y="36"/>
                    <a:pt x="304" y="37"/>
                    <a:pt x="302" y="38"/>
                  </a:cubicBezTo>
                  <a:cubicBezTo>
                    <a:pt x="300" y="40"/>
                    <a:pt x="299" y="41"/>
                    <a:pt x="298" y="43"/>
                  </a:cubicBezTo>
                  <a:cubicBezTo>
                    <a:pt x="297" y="45"/>
                    <a:pt x="296" y="47"/>
                    <a:pt x="296" y="50"/>
                  </a:cubicBezTo>
                  <a:cubicBezTo>
                    <a:pt x="296" y="54"/>
                    <a:pt x="297" y="57"/>
                    <a:pt x="300" y="59"/>
                  </a:cubicBezTo>
                  <a:cubicBezTo>
                    <a:pt x="302" y="62"/>
                    <a:pt x="306" y="63"/>
                    <a:pt x="310" y="63"/>
                  </a:cubicBezTo>
                  <a:cubicBezTo>
                    <a:pt x="313" y="63"/>
                    <a:pt x="315" y="62"/>
                    <a:pt x="318" y="61"/>
                  </a:cubicBezTo>
                  <a:cubicBezTo>
                    <a:pt x="320" y="60"/>
                    <a:pt x="323" y="58"/>
                    <a:pt x="325" y="56"/>
                  </a:cubicBezTo>
                  <a:cubicBezTo>
                    <a:pt x="325" y="58"/>
                    <a:pt x="326" y="60"/>
                    <a:pt x="326" y="62"/>
                  </a:cubicBezTo>
                  <a:moveTo>
                    <a:pt x="239" y="25"/>
                  </a:moveTo>
                  <a:cubicBezTo>
                    <a:pt x="242" y="23"/>
                    <a:pt x="245" y="22"/>
                    <a:pt x="248" y="22"/>
                  </a:cubicBezTo>
                  <a:cubicBezTo>
                    <a:pt x="251" y="22"/>
                    <a:pt x="253" y="23"/>
                    <a:pt x="255" y="25"/>
                  </a:cubicBezTo>
                  <a:cubicBezTo>
                    <a:pt x="257" y="27"/>
                    <a:pt x="258" y="30"/>
                    <a:pt x="258" y="34"/>
                  </a:cubicBezTo>
                  <a:cubicBezTo>
                    <a:pt x="258" y="34"/>
                    <a:pt x="258" y="35"/>
                    <a:pt x="258" y="35"/>
                  </a:cubicBezTo>
                  <a:cubicBezTo>
                    <a:pt x="233" y="35"/>
                    <a:pt x="233" y="35"/>
                    <a:pt x="233" y="35"/>
                  </a:cubicBezTo>
                  <a:cubicBezTo>
                    <a:pt x="234" y="31"/>
                    <a:pt x="236" y="28"/>
                    <a:pt x="239" y="25"/>
                  </a:cubicBezTo>
                  <a:moveTo>
                    <a:pt x="249" y="54"/>
                  </a:moveTo>
                  <a:cubicBezTo>
                    <a:pt x="247" y="56"/>
                    <a:pt x="244" y="56"/>
                    <a:pt x="242" y="56"/>
                  </a:cubicBezTo>
                  <a:cubicBezTo>
                    <a:pt x="239" y="56"/>
                    <a:pt x="236" y="55"/>
                    <a:pt x="235" y="53"/>
                  </a:cubicBezTo>
                  <a:cubicBezTo>
                    <a:pt x="233" y="51"/>
                    <a:pt x="232" y="48"/>
                    <a:pt x="232" y="44"/>
                  </a:cubicBezTo>
                  <a:cubicBezTo>
                    <a:pt x="232" y="43"/>
                    <a:pt x="232" y="42"/>
                    <a:pt x="232" y="41"/>
                  </a:cubicBezTo>
                  <a:cubicBezTo>
                    <a:pt x="265" y="41"/>
                    <a:pt x="265" y="41"/>
                    <a:pt x="265" y="41"/>
                  </a:cubicBezTo>
                  <a:cubicBezTo>
                    <a:pt x="265" y="39"/>
                    <a:pt x="265" y="37"/>
                    <a:pt x="265" y="35"/>
                  </a:cubicBezTo>
                  <a:cubicBezTo>
                    <a:pt x="265" y="29"/>
                    <a:pt x="264" y="24"/>
                    <a:pt x="261" y="21"/>
                  </a:cubicBezTo>
                  <a:cubicBezTo>
                    <a:pt x="257" y="18"/>
                    <a:pt x="253" y="16"/>
                    <a:pt x="248" y="16"/>
                  </a:cubicBezTo>
                  <a:cubicBezTo>
                    <a:pt x="244" y="16"/>
                    <a:pt x="240" y="17"/>
                    <a:pt x="236" y="19"/>
                  </a:cubicBezTo>
                  <a:cubicBezTo>
                    <a:pt x="233" y="22"/>
                    <a:pt x="230" y="25"/>
                    <a:pt x="227" y="30"/>
                  </a:cubicBezTo>
                  <a:cubicBezTo>
                    <a:pt x="225" y="34"/>
                    <a:pt x="224" y="39"/>
                    <a:pt x="224" y="44"/>
                  </a:cubicBezTo>
                  <a:cubicBezTo>
                    <a:pt x="224" y="48"/>
                    <a:pt x="225" y="51"/>
                    <a:pt x="226" y="54"/>
                  </a:cubicBezTo>
                  <a:cubicBezTo>
                    <a:pt x="228" y="57"/>
                    <a:pt x="230" y="59"/>
                    <a:pt x="232" y="60"/>
                  </a:cubicBezTo>
                  <a:cubicBezTo>
                    <a:pt x="235" y="62"/>
                    <a:pt x="238" y="63"/>
                    <a:pt x="242" y="63"/>
                  </a:cubicBezTo>
                  <a:cubicBezTo>
                    <a:pt x="247" y="63"/>
                    <a:pt x="251" y="61"/>
                    <a:pt x="255" y="58"/>
                  </a:cubicBezTo>
                  <a:cubicBezTo>
                    <a:pt x="259" y="54"/>
                    <a:pt x="262" y="51"/>
                    <a:pt x="263" y="47"/>
                  </a:cubicBezTo>
                  <a:cubicBezTo>
                    <a:pt x="255" y="47"/>
                    <a:pt x="255" y="47"/>
                    <a:pt x="255" y="47"/>
                  </a:cubicBezTo>
                  <a:cubicBezTo>
                    <a:pt x="254" y="50"/>
                    <a:pt x="252" y="52"/>
                    <a:pt x="249" y="54"/>
                  </a:cubicBezTo>
                  <a:moveTo>
                    <a:pt x="200" y="62"/>
                  </a:moveTo>
                  <a:cubicBezTo>
                    <a:pt x="204" y="44"/>
                    <a:pt x="204" y="44"/>
                    <a:pt x="204" y="44"/>
                  </a:cubicBezTo>
                  <a:cubicBezTo>
                    <a:pt x="206" y="36"/>
                    <a:pt x="208" y="31"/>
                    <a:pt x="211" y="28"/>
                  </a:cubicBezTo>
                  <a:cubicBezTo>
                    <a:pt x="214" y="25"/>
                    <a:pt x="216" y="23"/>
                    <a:pt x="219" y="23"/>
                  </a:cubicBezTo>
                  <a:cubicBezTo>
                    <a:pt x="221" y="23"/>
                    <a:pt x="222" y="24"/>
                    <a:pt x="223" y="25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4" y="17"/>
                    <a:pt x="222" y="16"/>
                    <a:pt x="221" y="16"/>
                  </a:cubicBezTo>
                  <a:cubicBezTo>
                    <a:pt x="219" y="16"/>
                    <a:pt x="216" y="17"/>
                    <a:pt x="214" y="18"/>
                  </a:cubicBezTo>
                  <a:cubicBezTo>
                    <a:pt x="212" y="20"/>
                    <a:pt x="210" y="23"/>
                    <a:pt x="207" y="26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3" y="62"/>
                    <a:pt x="193" y="62"/>
                    <a:pt x="193" y="62"/>
                  </a:cubicBezTo>
                  <a:lnTo>
                    <a:pt x="200" y="62"/>
                  </a:lnTo>
                  <a:close/>
                  <a:moveTo>
                    <a:pt x="175" y="49"/>
                  </a:moveTo>
                  <a:cubicBezTo>
                    <a:pt x="173" y="52"/>
                    <a:pt x="171" y="53"/>
                    <a:pt x="169" y="55"/>
                  </a:cubicBezTo>
                  <a:cubicBezTo>
                    <a:pt x="167" y="56"/>
                    <a:pt x="164" y="57"/>
                    <a:pt x="162" y="57"/>
                  </a:cubicBezTo>
                  <a:cubicBezTo>
                    <a:pt x="159" y="57"/>
                    <a:pt x="157" y="56"/>
                    <a:pt x="155" y="55"/>
                  </a:cubicBezTo>
                  <a:cubicBezTo>
                    <a:pt x="154" y="53"/>
                    <a:pt x="153" y="52"/>
                    <a:pt x="153" y="49"/>
                  </a:cubicBezTo>
                  <a:cubicBezTo>
                    <a:pt x="153" y="48"/>
                    <a:pt x="154" y="46"/>
                    <a:pt x="155" y="45"/>
                  </a:cubicBezTo>
                  <a:cubicBezTo>
                    <a:pt x="156" y="44"/>
                    <a:pt x="157" y="43"/>
                    <a:pt x="159" y="42"/>
                  </a:cubicBezTo>
                  <a:cubicBezTo>
                    <a:pt x="161" y="42"/>
                    <a:pt x="164" y="41"/>
                    <a:pt x="168" y="41"/>
                  </a:cubicBezTo>
                  <a:cubicBezTo>
                    <a:pt x="171" y="40"/>
                    <a:pt x="173" y="40"/>
                    <a:pt x="174" y="40"/>
                  </a:cubicBezTo>
                  <a:cubicBezTo>
                    <a:pt x="176" y="40"/>
                    <a:pt x="177" y="39"/>
                    <a:pt x="178" y="39"/>
                  </a:cubicBezTo>
                  <a:cubicBezTo>
                    <a:pt x="177" y="43"/>
                    <a:pt x="176" y="47"/>
                    <a:pt x="175" y="49"/>
                  </a:cubicBezTo>
                  <a:moveTo>
                    <a:pt x="176" y="62"/>
                  </a:moveTo>
                  <a:cubicBezTo>
                    <a:pt x="184" y="62"/>
                    <a:pt x="184" y="62"/>
                    <a:pt x="184" y="62"/>
                  </a:cubicBezTo>
                  <a:cubicBezTo>
                    <a:pt x="183" y="59"/>
                    <a:pt x="183" y="57"/>
                    <a:pt x="183" y="56"/>
                  </a:cubicBezTo>
                  <a:cubicBezTo>
                    <a:pt x="183" y="53"/>
                    <a:pt x="183" y="51"/>
                    <a:pt x="184" y="47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7" y="33"/>
                    <a:pt x="187" y="30"/>
                    <a:pt x="187" y="28"/>
                  </a:cubicBezTo>
                  <a:cubicBezTo>
                    <a:pt x="187" y="24"/>
                    <a:pt x="186" y="22"/>
                    <a:pt x="184" y="20"/>
                  </a:cubicBezTo>
                  <a:cubicBezTo>
                    <a:pt x="180" y="17"/>
                    <a:pt x="176" y="16"/>
                    <a:pt x="170" y="16"/>
                  </a:cubicBezTo>
                  <a:cubicBezTo>
                    <a:pt x="165" y="16"/>
                    <a:pt x="161" y="17"/>
                    <a:pt x="158" y="20"/>
                  </a:cubicBezTo>
                  <a:cubicBezTo>
                    <a:pt x="154" y="22"/>
                    <a:pt x="152" y="25"/>
                    <a:pt x="150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28"/>
                    <a:pt x="160" y="26"/>
                    <a:pt x="162" y="24"/>
                  </a:cubicBezTo>
                  <a:cubicBezTo>
                    <a:pt x="164" y="23"/>
                    <a:pt x="167" y="22"/>
                    <a:pt x="170" y="22"/>
                  </a:cubicBezTo>
                  <a:cubicBezTo>
                    <a:pt x="173" y="22"/>
                    <a:pt x="176" y="23"/>
                    <a:pt x="178" y="24"/>
                  </a:cubicBezTo>
                  <a:cubicBezTo>
                    <a:pt x="179" y="25"/>
                    <a:pt x="180" y="27"/>
                    <a:pt x="180" y="28"/>
                  </a:cubicBezTo>
                  <a:cubicBezTo>
                    <a:pt x="180" y="30"/>
                    <a:pt x="179" y="32"/>
                    <a:pt x="179" y="34"/>
                  </a:cubicBezTo>
                  <a:cubicBezTo>
                    <a:pt x="177" y="34"/>
                    <a:pt x="173" y="35"/>
                    <a:pt x="169" y="35"/>
                  </a:cubicBezTo>
                  <a:cubicBezTo>
                    <a:pt x="164" y="35"/>
                    <a:pt x="161" y="36"/>
                    <a:pt x="159" y="36"/>
                  </a:cubicBezTo>
                  <a:cubicBezTo>
                    <a:pt x="156" y="36"/>
                    <a:pt x="154" y="37"/>
                    <a:pt x="152" y="38"/>
                  </a:cubicBezTo>
                  <a:cubicBezTo>
                    <a:pt x="150" y="40"/>
                    <a:pt x="149" y="41"/>
                    <a:pt x="147" y="43"/>
                  </a:cubicBezTo>
                  <a:cubicBezTo>
                    <a:pt x="146" y="45"/>
                    <a:pt x="146" y="47"/>
                    <a:pt x="146" y="50"/>
                  </a:cubicBezTo>
                  <a:cubicBezTo>
                    <a:pt x="146" y="54"/>
                    <a:pt x="147" y="57"/>
                    <a:pt x="149" y="59"/>
                  </a:cubicBezTo>
                  <a:cubicBezTo>
                    <a:pt x="152" y="62"/>
                    <a:pt x="155" y="63"/>
                    <a:pt x="159" y="63"/>
                  </a:cubicBezTo>
                  <a:cubicBezTo>
                    <a:pt x="162" y="63"/>
                    <a:pt x="165" y="62"/>
                    <a:pt x="167" y="61"/>
                  </a:cubicBezTo>
                  <a:cubicBezTo>
                    <a:pt x="170" y="60"/>
                    <a:pt x="172" y="58"/>
                    <a:pt x="175" y="56"/>
                  </a:cubicBezTo>
                  <a:cubicBezTo>
                    <a:pt x="175" y="58"/>
                    <a:pt x="175" y="60"/>
                    <a:pt x="176" y="62"/>
                  </a:cubicBezTo>
                  <a:moveTo>
                    <a:pt x="89" y="25"/>
                  </a:moveTo>
                  <a:cubicBezTo>
                    <a:pt x="91" y="23"/>
                    <a:pt x="94" y="22"/>
                    <a:pt x="98" y="22"/>
                  </a:cubicBezTo>
                  <a:cubicBezTo>
                    <a:pt x="101" y="22"/>
                    <a:pt x="103" y="23"/>
                    <a:pt x="105" y="25"/>
                  </a:cubicBezTo>
                  <a:cubicBezTo>
                    <a:pt x="107" y="27"/>
                    <a:pt x="108" y="30"/>
                    <a:pt x="108" y="34"/>
                  </a:cubicBezTo>
                  <a:cubicBezTo>
                    <a:pt x="108" y="34"/>
                    <a:pt x="108" y="35"/>
                    <a:pt x="108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4" y="31"/>
                    <a:pt x="86" y="28"/>
                    <a:pt x="89" y="25"/>
                  </a:cubicBezTo>
                  <a:moveTo>
                    <a:pt x="99" y="54"/>
                  </a:moveTo>
                  <a:cubicBezTo>
                    <a:pt x="96" y="56"/>
                    <a:pt x="94" y="56"/>
                    <a:pt x="91" y="56"/>
                  </a:cubicBezTo>
                  <a:cubicBezTo>
                    <a:pt x="88" y="56"/>
                    <a:pt x="86" y="55"/>
                    <a:pt x="84" y="53"/>
                  </a:cubicBezTo>
                  <a:cubicBezTo>
                    <a:pt x="82" y="51"/>
                    <a:pt x="81" y="48"/>
                    <a:pt x="81" y="44"/>
                  </a:cubicBezTo>
                  <a:cubicBezTo>
                    <a:pt x="81" y="43"/>
                    <a:pt x="81" y="42"/>
                    <a:pt x="81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39"/>
                    <a:pt x="115" y="37"/>
                    <a:pt x="115" y="35"/>
                  </a:cubicBezTo>
                  <a:cubicBezTo>
                    <a:pt x="115" y="29"/>
                    <a:pt x="113" y="24"/>
                    <a:pt x="110" y="21"/>
                  </a:cubicBezTo>
                  <a:cubicBezTo>
                    <a:pt x="107" y="18"/>
                    <a:pt x="103" y="16"/>
                    <a:pt x="97" y="16"/>
                  </a:cubicBezTo>
                  <a:cubicBezTo>
                    <a:pt x="93" y="16"/>
                    <a:pt x="89" y="17"/>
                    <a:pt x="86" y="19"/>
                  </a:cubicBezTo>
                  <a:cubicBezTo>
                    <a:pt x="82" y="22"/>
                    <a:pt x="79" y="25"/>
                    <a:pt x="77" y="30"/>
                  </a:cubicBezTo>
                  <a:cubicBezTo>
                    <a:pt x="75" y="34"/>
                    <a:pt x="74" y="39"/>
                    <a:pt x="74" y="44"/>
                  </a:cubicBezTo>
                  <a:cubicBezTo>
                    <a:pt x="74" y="48"/>
                    <a:pt x="74" y="51"/>
                    <a:pt x="76" y="54"/>
                  </a:cubicBezTo>
                  <a:cubicBezTo>
                    <a:pt x="77" y="57"/>
                    <a:pt x="79" y="59"/>
                    <a:pt x="82" y="60"/>
                  </a:cubicBezTo>
                  <a:cubicBezTo>
                    <a:pt x="85" y="62"/>
                    <a:pt x="88" y="63"/>
                    <a:pt x="91" y="63"/>
                  </a:cubicBezTo>
                  <a:cubicBezTo>
                    <a:pt x="96" y="63"/>
                    <a:pt x="101" y="61"/>
                    <a:pt x="105" y="58"/>
                  </a:cubicBezTo>
                  <a:cubicBezTo>
                    <a:pt x="109" y="54"/>
                    <a:pt x="111" y="51"/>
                    <a:pt x="112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3" y="50"/>
                    <a:pt x="101" y="52"/>
                    <a:pt x="99" y="54"/>
                  </a:cubicBezTo>
                  <a:moveTo>
                    <a:pt x="12" y="6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4" y="19"/>
                    <a:pt x="36" y="16"/>
                    <a:pt x="38" y="13"/>
                  </a:cubicBezTo>
                  <a:cubicBezTo>
                    <a:pt x="38" y="17"/>
                    <a:pt x="38" y="21"/>
                    <a:pt x="38" y="24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7"/>
                    <a:pt x="52" y="40"/>
                    <a:pt x="50" y="45"/>
                  </a:cubicBezTo>
                  <a:cubicBezTo>
                    <a:pt x="48" y="47"/>
                    <a:pt x="48" y="50"/>
                    <a:pt x="47" y="51"/>
                  </a:cubicBezTo>
                  <a:cubicBezTo>
                    <a:pt x="47" y="45"/>
                    <a:pt x="47" y="40"/>
                    <a:pt x="47" y="3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8"/>
                    <a:pt x="13" y="43"/>
                    <a:pt x="10" y="50"/>
                  </a:cubicBezTo>
                  <a:cubicBezTo>
                    <a:pt x="10" y="48"/>
                    <a:pt x="10" y="47"/>
                    <a:pt x="10" y="46"/>
                  </a:cubicBezTo>
                  <a:cubicBezTo>
                    <a:pt x="10" y="45"/>
                    <a:pt x="10" y="44"/>
                    <a:pt x="10" y="42"/>
                  </a:cubicBezTo>
                  <a:cubicBezTo>
                    <a:pt x="10" y="36"/>
                    <a:pt x="9" y="32"/>
                    <a:pt x="9" y="3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2"/>
                    <a:pt x="3" y="62"/>
                    <a:pt x="3" y="62"/>
                  </a:cubicBezTo>
                  <a:lnTo>
                    <a:pt x="1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94A81AE7-89B1-4C9A-BEB0-68351ECC3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5745" y="6127769"/>
            <a:ext cx="2259101" cy="204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87361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 default - with tag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aphic 3">
            <a:extLst>
              <a:ext uri="{FF2B5EF4-FFF2-40B4-BE49-F238E27FC236}">
                <a16:creationId xmlns:a16="http://schemas.microsoft.com/office/drawing/2014/main" xmlns="" id="{CCAB14FA-48D7-4E08-8DBC-8BADE76A5197}"/>
              </a:ext>
            </a:extLst>
          </p:cNvPr>
          <p:cNvGrpSpPr/>
          <p:nvPr/>
        </p:nvGrpSpPr>
        <p:grpSpPr>
          <a:xfrm>
            <a:off x="4963463" y="1931307"/>
            <a:ext cx="2265073" cy="2542514"/>
            <a:chOff x="4963463" y="1931307"/>
            <a:chExt cx="2265073" cy="2542514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140C728F-4903-4046-9527-30BED6B2C0CC}"/>
                </a:ext>
              </a:extLst>
            </p:cNvPr>
            <p:cNvSpPr/>
            <p:nvPr/>
          </p:nvSpPr>
          <p:spPr>
            <a:xfrm>
              <a:off x="5156911" y="3153598"/>
              <a:ext cx="410663" cy="525526"/>
            </a:xfrm>
            <a:custGeom>
              <a:avLst/>
              <a:gdLst>
                <a:gd name="connsiteX0" fmla="*/ 93083 w 410663"/>
                <a:gd name="connsiteY0" fmla="*/ 296081 h 525526"/>
                <a:gd name="connsiteX1" fmla="*/ 93083 w 410663"/>
                <a:gd name="connsiteY1" fmla="*/ 525399 h 525526"/>
                <a:gd name="connsiteX2" fmla="*/ -216 w 410663"/>
                <a:gd name="connsiteY2" fmla="*/ 525399 h 525526"/>
                <a:gd name="connsiteX3" fmla="*/ -216 w 410663"/>
                <a:gd name="connsiteY3" fmla="*/ -128 h 525526"/>
                <a:gd name="connsiteX4" fmla="*/ 93083 w 410663"/>
                <a:gd name="connsiteY4" fmla="*/ -128 h 525526"/>
                <a:gd name="connsiteX5" fmla="*/ 93083 w 410663"/>
                <a:gd name="connsiteY5" fmla="*/ 213775 h 525526"/>
                <a:gd name="connsiteX6" fmla="*/ 317154 w 410663"/>
                <a:gd name="connsiteY6" fmla="*/ 213775 h 525526"/>
                <a:gd name="connsiteX7" fmla="*/ 317154 w 410663"/>
                <a:gd name="connsiteY7" fmla="*/ -128 h 525526"/>
                <a:gd name="connsiteX8" fmla="*/ 410448 w 410663"/>
                <a:gd name="connsiteY8" fmla="*/ -128 h 525526"/>
                <a:gd name="connsiteX9" fmla="*/ 410448 w 410663"/>
                <a:gd name="connsiteY9" fmla="*/ 525399 h 525526"/>
                <a:gd name="connsiteX10" fmla="*/ 317154 w 410663"/>
                <a:gd name="connsiteY10" fmla="*/ 525399 h 525526"/>
                <a:gd name="connsiteX11" fmla="*/ 317154 w 410663"/>
                <a:gd name="connsiteY11" fmla="*/ 296081 h 525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10663" h="525526">
                  <a:moveTo>
                    <a:pt x="93083" y="296081"/>
                  </a:moveTo>
                  <a:lnTo>
                    <a:pt x="93083" y="525399"/>
                  </a:lnTo>
                  <a:lnTo>
                    <a:pt x="-216" y="525399"/>
                  </a:lnTo>
                  <a:lnTo>
                    <a:pt x="-216" y="-128"/>
                  </a:lnTo>
                  <a:lnTo>
                    <a:pt x="93083" y="-128"/>
                  </a:lnTo>
                  <a:lnTo>
                    <a:pt x="93083" y="213775"/>
                  </a:lnTo>
                  <a:lnTo>
                    <a:pt x="317154" y="213775"/>
                  </a:lnTo>
                  <a:lnTo>
                    <a:pt x="317154" y="-128"/>
                  </a:lnTo>
                  <a:lnTo>
                    <a:pt x="410448" y="-128"/>
                  </a:lnTo>
                  <a:lnTo>
                    <a:pt x="410448" y="525399"/>
                  </a:lnTo>
                  <a:lnTo>
                    <a:pt x="317154" y="525399"/>
                  </a:lnTo>
                  <a:lnTo>
                    <a:pt x="317154" y="296081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8C0CCC6D-D04C-411F-B43C-747EF28D416E}"/>
                </a:ext>
              </a:extLst>
            </p:cNvPr>
            <p:cNvSpPr/>
            <p:nvPr/>
          </p:nvSpPr>
          <p:spPr>
            <a:xfrm>
              <a:off x="5602821" y="3293248"/>
              <a:ext cx="382758" cy="518180"/>
            </a:xfrm>
            <a:custGeom>
              <a:avLst/>
              <a:gdLst>
                <a:gd name="connsiteX0" fmla="*/ 85028 w 382758"/>
                <a:gd name="connsiteY0" fmla="*/ 518053 h 518180"/>
                <a:gd name="connsiteX1" fmla="*/ 145246 w 382758"/>
                <a:gd name="connsiteY1" fmla="*/ 375451 h 518180"/>
                <a:gd name="connsiteX2" fmla="*/ -216 w 382758"/>
                <a:gd name="connsiteY2" fmla="*/ -128 h 518180"/>
                <a:gd name="connsiteX3" fmla="*/ 98232 w 382758"/>
                <a:gd name="connsiteY3" fmla="*/ -128 h 518180"/>
                <a:gd name="connsiteX4" fmla="*/ 192266 w 382758"/>
                <a:gd name="connsiteY4" fmla="*/ 275498 h 518180"/>
                <a:gd name="connsiteX5" fmla="*/ 286305 w 382758"/>
                <a:gd name="connsiteY5" fmla="*/ -128 h 518180"/>
                <a:gd name="connsiteX6" fmla="*/ 382543 w 382758"/>
                <a:gd name="connsiteY6" fmla="*/ -128 h 518180"/>
                <a:gd name="connsiteX7" fmla="*/ 176106 w 382758"/>
                <a:gd name="connsiteY7" fmla="*/ 518048 h 5181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82758" h="518180">
                  <a:moveTo>
                    <a:pt x="85028" y="518053"/>
                  </a:moveTo>
                  <a:lnTo>
                    <a:pt x="145246" y="375451"/>
                  </a:lnTo>
                  <a:cubicBezTo>
                    <a:pt x="101166" y="258590"/>
                    <a:pt x="47539" y="121145"/>
                    <a:pt x="-216" y="-128"/>
                  </a:cubicBezTo>
                  <a:lnTo>
                    <a:pt x="98232" y="-128"/>
                  </a:lnTo>
                  <a:cubicBezTo>
                    <a:pt x="140843" y="122615"/>
                    <a:pt x="165079" y="199791"/>
                    <a:pt x="192266" y="275498"/>
                  </a:cubicBezTo>
                  <a:cubicBezTo>
                    <a:pt x="215778" y="211548"/>
                    <a:pt x="254693" y="91010"/>
                    <a:pt x="286305" y="-128"/>
                  </a:cubicBezTo>
                  <a:lnTo>
                    <a:pt x="382543" y="-128"/>
                  </a:lnTo>
                  <a:cubicBezTo>
                    <a:pt x="314955" y="170392"/>
                    <a:pt x="248103" y="341647"/>
                    <a:pt x="176106" y="518048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60B0DC9D-4D36-47B5-97D7-A352B8A299DC}"/>
                </a:ext>
              </a:extLst>
            </p:cNvPr>
            <p:cNvSpPr/>
            <p:nvPr/>
          </p:nvSpPr>
          <p:spPr>
            <a:xfrm>
              <a:off x="5975309" y="3153598"/>
              <a:ext cx="395238" cy="534347"/>
            </a:xfrm>
            <a:custGeom>
              <a:avLst/>
              <a:gdLst>
                <a:gd name="connsiteX0" fmla="*/ 310536 w 395238"/>
                <a:gd name="connsiteY0" fmla="*/ 525399 h 534347"/>
                <a:gd name="connsiteX1" fmla="*/ 310536 w 395238"/>
                <a:gd name="connsiteY1" fmla="*/ 471011 h 534347"/>
                <a:gd name="connsiteX2" fmla="*/ 177570 w 395238"/>
                <a:gd name="connsiteY2" fmla="*/ 534220 h 534347"/>
                <a:gd name="connsiteX3" fmla="*/ -216 w 395238"/>
                <a:gd name="connsiteY3" fmla="*/ 331372 h 534347"/>
                <a:gd name="connsiteX4" fmla="*/ 179769 w 395238"/>
                <a:gd name="connsiteY4" fmla="*/ 127042 h 534347"/>
                <a:gd name="connsiteX5" fmla="*/ 306133 w 395238"/>
                <a:gd name="connsiteY5" fmla="*/ 188781 h 534347"/>
                <a:gd name="connsiteX6" fmla="*/ 305398 w 395238"/>
                <a:gd name="connsiteY6" fmla="*/ 112346 h 534347"/>
                <a:gd name="connsiteX7" fmla="*/ 305398 w 395238"/>
                <a:gd name="connsiteY7" fmla="*/ -128 h 534347"/>
                <a:gd name="connsiteX8" fmla="*/ 395023 w 395238"/>
                <a:gd name="connsiteY8" fmla="*/ -128 h 534347"/>
                <a:gd name="connsiteX9" fmla="*/ 395023 w 395238"/>
                <a:gd name="connsiteY9" fmla="*/ 525399 h 534347"/>
                <a:gd name="connsiteX10" fmla="*/ 91614 w 395238"/>
                <a:gd name="connsiteY10" fmla="*/ 332831 h 534347"/>
                <a:gd name="connsiteX11" fmla="*/ 198138 w 395238"/>
                <a:gd name="connsiteY11" fmla="*/ 461455 h 534347"/>
                <a:gd name="connsiteX12" fmla="*/ 309801 w 395238"/>
                <a:gd name="connsiteY12" fmla="*/ 329907 h 534347"/>
                <a:gd name="connsiteX13" fmla="*/ 198873 w 395238"/>
                <a:gd name="connsiteY13" fmla="*/ 201284 h 534347"/>
                <a:gd name="connsiteX14" fmla="*/ 91614 w 395238"/>
                <a:gd name="connsiteY14" fmla="*/ 332831 h 5343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5238" h="534347">
                  <a:moveTo>
                    <a:pt x="310536" y="525399"/>
                  </a:moveTo>
                  <a:lnTo>
                    <a:pt x="310536" y="471011"/>
                  </a:lnTo>
                  <a:cubicBezTo>
                    <a:pt x="288498" y="504821"/>
                    <a:pt x="243688" y="534220"/>
                    <a:pt x="177570" y="534220"/>
                  </a:cubicBezTo>
                  <a:cubicBezTo>
                    <a:pt x="72510" y="534220"/>
                    <a:pt x="-216" y="451904"/>
                    <a:pt x="-216" y="331372"/>
                  </a:cubicBezTo>
                  <a:cubicBezTo>
                    <a:pt x="-216" y="214510"/>
                    <a:pt x="69576" y="127042"/>
                    <a:pt x="179769" y="127042"/>
                  </a:cubicBezTo>
                  <a:cubicBezTo>
                    <a:pt x="240744" y="127042"/>
                    <a:pt x="284830" y="157177"/>
                    <a:pt x="306133" y="188781"/>
                  </a:cubicBezTo>
                  <a:cubicBezTo>
                    <a:pt x="305398" y="161587"/>
                    <a:pt x="305398" y="138804"/>
                    <a:pt x="305398" y="112346"/>
                  </a:cubicBezTo>
                  <a:lnTo>
                    <a:pt x="305398" y="-128"/>
                  </a:lnTo>
                  <a:lnTo>
                    <a:pt x="395023" y="-128"/>
                  </a:lnTo>
                  <a:lnTo>
                    <a:pt x="395023" y="525399"/>
                  </a:lnTo>
                  <a:close/>
                  <a:moveTo>
                    <a:pt x="91614" y="332831"/>
                  </a:moveTo>
                  <a:cubicBezTo>
                    <a:pt x="91614" y="406343"/>
                    <a:pt x="131286" y="461455"/>
                    <a:pt x="198138" y="461455"/>
                  </a:cubicBezTo>
                  <a:cubicBezTo>
                    <a:pt x="267930" y="461455"/>
                    <a:pt x="309801" y="405597"/>
                    <a:pt x="309801" y="329907"/>
                  </a:cubicBezTo>
                  <a:cubicBezTo>
                    <a:pt x="309801" y="255671"/>
                    <a:pt x="263522" y="201284"/>
                    <a:pt x="198873" y="201284"/>
                  </a:cubicBezTo>
                  <a:cubicBezTo>
                    <a:pt x="131286" y="201267"/>
                    <a:pt x="91614" y="259330"/>
                    <a:pt x="91614" y="33283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26B931DA-7BAE-45DC-B05B-DE9F1CAC313B}"/>
                </a:ext>
              </a:extLst>
            </p:cNvPr>
            <p:cNvSpPr/>
            <p:nvPr/>
          </p:nvSpPr>
          <p:spPr>
            <a:xfrm>
              <a:off x="6427854" y="3283695"/>
              <a:ext cx="198354" cy="395429"/>
            </a:xfrm>
            <a:custGeom>
              <a:avLst/>
              <a:gdLst>
                <a:gd name="connsiteX0" fmla="*/ 84266 w 198354"/>
                <a:gd name="connsiteY0" fmla="*/ 8696 h 395429"/>
                <a:gd name="connsiteX1" fmla="*/ 84266 w 198354"/>
                <a:gd name="connsiteY1" fmla="*/ 35155 h 395429"/>
                <a:gd name="connsiteX2" fmla="*/ 83537 w 198354"/>
                <a:gd name="connsiteY2" fmla="*/ 60878 h 395429"/>
                <a:gd name="connsiteX3" fmla="*/ 176835 w 198354"/>
                <a:gd name="connsiteY3" fmla="*/ -125 h 395429"/>
                <a:gd name="connsiteX4" fmla="*/ 198138 w 198354"/>
                <a:gd name="connsiteY4" fmla="*/ 1345 h 395429"/>
                <a:gd name="connsiteX5" fmla="*/ 198138 w 198354"/>
                <a:gd name="connsiteY5" fmla="*/ 86607 h 395429"/>
                <a:gd name="connsiteX6" fmla="*/ 172427 w 198354"/>
                <a:gd name="connsiteY6" fmla="*/ 83667 h 395429"/>
                <a:gd name="connsiteX7" fmla="*/ 90144 w 198354"/>
                <a:gd name="connsiteY7" fmla="*/ 213004 h 395429"/>
                <a:gd name="connsiteX8" fmla="*/ 90144 w 198354"/>
                <a:gd name="connsiteY8" fmla="*/ 395302 h 395429"/>
                <a:gd name="connsiteX9" fmla="*/ 519 w 198354"/>
                <a:gd name="connsiteY9" fmla="*/ 395302 h 395429"/>
                <a:gd name="connsiteX10" fmla="*/ 519 w 198354"/>
                <a:gd name="connsiteY10" fmla="*/ 78521 h 395429"/>
                <a:gd name="connsiteX11" fmla="*/ -216 w 198354"/>
                <a:gd name="connsiteY11" fmla="*/ 8696 h 3954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98354" h="395429">
                  <a:moveTo>
                    <a:pt x="84266" y="8696"/>
                  </a:moveTo>
                  <a:lnTo>
                    <a:pt x="84266" y="35155"/>
                  </a:lnTo>
                  <a:cubicBezTo>
                    <a:pt x="84266" y="43998"/>
                    <a:pt x="84266" y="52792"/>
                    <a:pt x="83537" y="60878"/>
                  </a:cubicBezTo>
                  <a:cubicBezTo>
                    <a:pt x="96757" y="21928"/>
                    <a:pt x="132755" y="-125"/>
                    <a:pt x="176835" y="-125"/>
                  </a:cubicBezTo>
                  <a:cubicBezTo>
                    <a:pt x="183962" y="-164"/>
                    <a:pt x="191083" y="328"/>
                    <a:pt x="198138" y="1345"/>
                  </a:cubicBezTo>
                  <a:lnTo>
                    <a:pt x="198138" y="86607"/>
                  </a:lnTo>
                  <a:cubicBezTo>
                    <a:pt x="189752" y="84413"/>
                    <a:pt x="181095" y="83424"/>
                    <a:pt x="172427" y="83667"/>
                  </a:cubicBezTo>
                  <a:cubicBezTo>
                    <a:pt x="102635" y="83667"/>
                    <a:pt x="90144" y="133644"/>
                    <a:pt x="90144" y="213004"/>
                  </a:cubicBezTo>
                  <a:lnTo>
                    <a:pt x="90144" y="395302"/>
                  </a:lnTo>
                  <a:lnTo>
                    <a:pt x="519" y="395302"/>
                  </a:lnTo>
                  <a:lnTo>
                    <a:pt x="519" y="78521"/>
                  </a:lnTo>
                  <a:cubicBezTo>
                    <a:pt x="519" y="54268"/>
                    <a:pt x="519" y="32214"/>
                    <a:pt x="-216" y="8696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F148E3E3-DFB6-45BB-B2F2-14942DCABDD3}"/>
                </a:ext>
              </a:extLst>
            </p:cNvPr>
            <p:cNvSpPr/>
            <p:nvPr/>
          </p:nvSpPr>
          <p:spPr>
            <a:xfrm>
              <a:off x="6632816" y="3280022"/>
              <a:ext cx="403321" cy="410864"/>
            </a:xfrm>
            <a:custGeom>
              <a:avLst/>
              <a:gdLst>
                <a:gd name="connsiteX0" fmla="*/ 403105 w 403321"/>
                <a:gd name="connsiteY0" fmla="*/ 206408 h 410864"/>
                <a:gd name="connsiteX1" fmla="*/ 199608 w 403321"/>
                <a:gd name="connsiteY1" fmla="*/ 410737 h 410864"/>
                <a:gd name="connsiteX2" fmla="*/ -216 w 403321"/>
                <a:gd name="connsiteY2" fmla="*/ 206408 h 410864"/>
                <a:gd name="connsiteX3" fmla="*/ 201078 w 403321"/>
                <a:gd name="connsiteY3" fmla="*/ -128 h 410864"/>
                <a:gd name="connsiteX4" fmla="*/ 403105 w 403321"/>
                <a:gd name="connsiteY4" fmla="*/ 206408 h 410864"/>
                <a:gd name="connsiteX5" fmla="*/ 91614 w 403321"/>
                <a:gd name="connsiteY5" fmla="*/ 205672 h 410864"/>
                <a:gd name="connsiteX6" fmla="*/ 199608 w 403321"/>
                <a:gd name="connsiteY6" fmla="*/ 335766 h 410864"/>
                <a:gd name="connsiteX7" fmla="*/ 308332 w 403321"/>
                <a:gd name="connsiteY7" fmla="*/ 205672 h 410864"/>
                <a:gd name="connsiteX8" fmla="*/ 199608 w 403321"/>
                <a:gd name="connsiteY8" fmla="*/ 74843 h 410864"/>
                <a:gd name="connsiteX9" fmla="*/ 91614 w 403321"/>
                <a:gd name="connsiteY9" fmla="*/ 205672 h 4108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3321" h="410864">
                  <a:moveTo>
                    <a:pt x="403105" y="206408"/>
                  </a:moveTo>
                  <a:cubicBezTo>
                    <a:pt x="403105" y="325480"/>
                    <a:pt x="324496" y="410737"/>
                    <a:pt x="199608" y="410737"/>
                  </a:cubicBezTo>
                  <a:cubicBezTo>
                    <a:pt x="75449" y="410737"/>
                    <a:pt x="-216" y="324745"/>
                    <a:pt x="-216" y="206408"/>
                  </a:cubicBezTo>
                  <a:cubicBezTo>
                    <a:pt x="-216" y="85135"/>
                    <a:pt x="79857" y="-128"/>
                    <a:pt x="201078" y="-128"/>
                  </a:cubicBezTo>
                  <a:cubicBezTo>
                    <a:pt x="323027" y="-128"/>
                    <a:pt x="403105" y="85141"/>
                    <a:pt x="403105" y="206408"/>
                  </a:cubicBezTo>
                  <a:close/>
                  <a:moveTo>
                    <a:pt x="91614" y="205672"/>
                  </a:moveTo>
                  <a:cubicBezTo>
                    <a:pt x="91614" y="284313"/>
                    <a:pt x="132020" y="335766"/>
                    <a:pt x="199608" y="335766"/>
                  </a:cubicBezTo>
                  <a:cubicBezTo>
                    <a:pt x="267930" y="335766"/>
                    <a:pt x="308332" y="284313"/>
                    <a:pt x="308332" y="205672"/>
                  </a:cubicBezTo>
                  <a:cubicBezTo>
                    <a:pt x="308332" y="129231"/>
                    <a:pt x="267195" y="74843"/>
                    <a:pt x="199608" y="74843"/>
                  </a:cubicBezTo>
                  <a:cubicBezTo>
                    <a:pt x="132749" y="74843"/>
                    <a:pt x="91614" y="129231"/>
                    <a:pt x="91614" y="20567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B8188C7D-62E7-407D-A900-9B8900C05D21}"/>
                </a:ext>
              </a:extLst>
            </p:cNvPr>
            <p:cNvSpPr/>
            <p:nvPr/>
          </p:nvSpPr>
          <p:spPr>
            <a:xfrm>
              <a:off x="5604055" y="1931306"/>
              <a:ext cx="985320" cy="986163"/>
            </a:xfrm>
            <a:custGeom>
              <a:avLst/>
              <a:gdLst>
                <a:gd name="connsiteX0" fmla="*/ 492253 w 985320"/>
                <a:gd name="connsiteY0" fmla="*/ -128 h 986163"/>
                <a:gd name="connsiteX1" fmla="*/ 24625 w 985320"/>
                <a:gd name="connsiteY1" fmla="*/ -128 h 986163"/>
                <a:gd name="connsiteX2" fmla="*/ -213 w 985320"/>
                <a:gd name="connsiteY2" fmla="*/ 25469 h 986163"/>
                <a:gd name="connsiteX3" fmla="*/ 24625 w 985320"/>
                <a:gd name="connsiteY3" fmla="*/ 50319 h 986163"/>
                <a:gd name="connsiteX4" fmla="*/ 467049 w 985320"/>
                <a:gd name="connsiteY4" fmla="*/ 492954 h 986163"/>
                <a:gd name="connsiteX5" fmla="*/ 24625 w 985320"/>
                <a:gd name="connsiteY5" fmla="*/ 935589 h 986163"/>
                <a:gd name="connsiteX6" fmla="*/ -213 w 985320"/>
                <a:gd name="connsiteY6" fmla="*/ 961186 h 986163"/>
                <a:gd name="connsiteX7" fmla="*/ 24625 w 985320"/>
                <a:gd name="connsiteY7" fmla="*/ 986036 h 986163"/>
                <a:gd name="connsiteX8" fmla="*/ 492258 w 985320"/>
                <a:gd name="connsiteY8" fmla="*/ 986036 h 986163"/>
                <a:gd name="connsiteX9" fmla="*/ 985105 w 985320"/>
                <a:gd name="connsiteY9" fmla="*/ 492954 h 986163"/>
                <a:gd name="connsiteX10" fmla="*/ 492258 w 985320"/>
                <a:gd name="connsiteY10" fmla="*/ -128 h 986163"/>
                <a:gd name="connsiteX11" fmla="*/ 409307 w 985320"/>
                <a:gd name="connsiteY11" fmla="*/ 929471 h 986163"/>
                <a:gd name="connsiteX12" fmla="*/ 617130 w 985320"/>
                <a:gd name="connsiteY12" fmla="*/ 264360 h 986163"/>
                <a:gd name="connsiteX13" fmla="*/ 409307 w 985320"/>
                <a:gd name="connsiteY13" fmla="*/ 56438 h 986163"/>
                <a:gd name="connsiteX14" fmla="*/ 772773 w 985320"/>
                <a:gd name="connsiteY14" fmla="*/ 565831 h 986163"/>
                <a:gd name="connsiteX15" fmla="*/ 409307 w 985320"/>
                <a:gd name="connsiteY15" fmla="*/ 929471 h 986163"/>
                <a:gd name="connsiteX16" fmla="*/ 517467 w 985320"/>
                <a:gd name="connsiteY16" fmla="*/ 492954 h 986163"/>
                <a:gd name="connsiteX17" fmla="*/ 253646 w 985320"/>
                <a:gd name="connsiteY17" fmla="*/ 56477 h 986163"/>
                <a:gd name="connsiteX18" fmla="*/ 616843 w 985320"/>
                <a:gd name="connsiteY18" fmla="*/ 566063 h 986163"/>
                <a:gd name="connsiteX19" fmla="*/ 253646 w 985320"/>
                <a:gd name="connsiteY19" fmla="*/ 929432 h 986163"/>
                <a:gd name="connsiteX20" fmla="*/ 517467 w 985320"/>
                <a:gd name="connsiteY20" fmla="*/ 492954 h 986163"/>
                <a:gd name="connsiteX21" fmla="*/ 565182 w 985320"/>
                <a:gd name="connsiteY21" fmla="*/ 929471 h 986163"/>
                <a:gd name="connsiteX22" fmla="*/ 773017 w 985320"/>
                <a:gd name="connsiteY22" fmla="*/ 264371 h 986163"/>
                <a:gd name="connsiteX23" fmla="*/ 565182 w 985320"/>
                <a:gd name="connsiteY23" fmla="*/ 56438 h 986163"/>
                <a:gd name="connsiteX24" fmla="*/ 928649 w 985320"/>
                <a:gd name="connsiteY24" fmla="*/ 565831 h 986163"/>
                <a:gd name="connsiteX25" fmla="*/ 565182 w 985320"/>
                <a:gd name="connsiteY25" fmla="*/ 929471 h 986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985320" h="986163">
                  <a:moveTo>
                    <a:pt x="492253" y="-128"/>
                  </a:moveTo>
                  <a:lnTo>
                    <a:pt x="24625" y="-128"/>
                  </a:lnTo>
                  <a:cubicBezTo>
                    <a:pt x="10704" y="77"/>
                    <a:pt x="-417" y="11540"/>
                    <a:pt x="-213" y="25469"/>
                  </a:cubicBezTo>
                  <a:cubicBezTo>
                    <a:pt x="-9" y="39110"/>
                    <a:pt x="10991" y="50115"/>
                    <a:pt x="24625" y="50319"/>
                  </a:cubicBezTo>
                  <a:cubicBezTo>
                    <a:pt x="268972" y="50319"/>
                    <a:pt x="467049" y="248492"/>
                    <a:pt x="467049" y="492954"/>
                  </a:cubicBezTo>
                  <a:cubicBezTo>
                    <a:pt x="467049" y="737417"/>
                    <a:pt x="268972" y="935589"/>
                    <a:pt x="24625" y="935589"/>
                  </a:cubicBezTo>
                  <a:cubicBezTo>
                    <a:pt x="10704" y="935794"/>
                    <a:pt x="-417" y="947257"/>
                    <a:pt x="-213" y="961186"/>
                  </a:cubicBezTo>
                  <a:cubicBezTo>
                    <a:pt x="-9" y="974827"/>
                    <a:pt x="10991" y="985832"/>
                    <a:pt x="24625" y="986036"/>
                  </a:cubicBezTo>
                  <a:lnTo>
                    <a:pt x="492258" y="986036"/>
                  </a:lnTo>
                  <a:cubicBezTo>
                    <a:pt x="764448" y="986036"/>
                    <a:pt x="985105" y="765274"/>
                    <a:pt x="985105" y="492954"/>
                  </a:cubicBezTo>
                  <a:cubicBezTo>
                    <a:pt x="985105" y="220635"/>
                    <a:pt x="764448" y="-128"/>
                    <a:pt x="492258" y="-128"/>
                  </a:cubicBezTo>
                  <a:close/>
                  <a:moveTo>
                    <a:pt x="409307" y="929471"/>
                  </a:moveTo>
                  <a:cubicBezTo>
                    <a:pt x="650272" y="803219"/>
                    <a:pt x="743317" y="505440"/>
                    <a:pt x="617130" y="264360"/>
                  </a:cubicBezTo>
                  <a:cubicBezTo>
                    <a:pt x="570619" y="175505"/>
                    <a:pt x="498120" y="102966"/>
                    <a:pt x="409307" y="56438"/>
                  </a:cubicBezTo>
                  <a:cubicBezTo>
                    <a:pt x="650272" y="96687"/>
                    <a:pt x="813003" y="324745"/>
                    <a:pt x="772773" y="565831"/>
                  </a:cubicBezTo>
                  <a:cubicBezTo>
                    <a:pt x="741665" y="752258"/>
                    <a:pt x="595650" y="898347"/>
                    <a:pt x="409307" y="929471"/>
                  </a:cubicBezTo>
                  <a:close/>
                  <a:moveTo>
                    <a:pt x="517467" y="492954"/>
                  </a:moveTo>
                  <a:cubicBezTo>
                    <a:pt x="517323" y="309750"/>
                    <a:pt x="415748" y="141695"/>
                    <a:pt x="253646" y="56477"/>
                  </a:cubicBezTo>
                  <a:cubicBezTo>
                    <a:pt x="494590" y="96853"/>
                    <a:pt x="657200" y="324999"/>
                    <a:pt x="616843" y="566063"/>
                  </a:cubicBezTo>
                  <a:cubicBezTo>
                    <a:pt x="585668" y="752302"/>
                    <a:pt x="439802" y="898237"/>
                    <a:pt x="253646" y="929432"/>
                  </a:cubicBezTo>
                  <a:cubicBezTo>
                    <a:pt x="415748" y="844214"/>
                    <a:pt x="517323" y="676159"/>
                    <a:pt x="517467" y="492954"/>
                  </a:cubicBezTo>
                  <a:close/>
                  <a:moveTo>
                    <a:pt x="565182" y="929471"/>
                  </a:moveTo>
                  <a:cubicBezTo>
                    <a:pt x="806147" y="803230"/>
                    <a:pt x="899198" y="505451"/>
                    <a:pt x="773017" y="264371"/>
                  </a:cubicBezTo>
                  <a:cubicBezTo>
                    <a:pt x="726505" y="175510"/>
                    <a:pt x="654001" y="102971"/>
                    <a:pt x="565182" y="56438"/>
                  </a:cubicBezTo>
                  <a:cubicBezTo>
                    <a:pt x="806147" y="96687"/>
                    <a:pt x="968879" y="324745"/>
                    <a:pt x="928649" y="565831"/>
                  </a:cubicBezTo>
                  <a:cubicBezTo>
                    <a:pt x="897540" y="752258"/>
                    <a:pt x="751526" y="898347"/>
                    <a:pt x="565182" y="92947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3D32DB43-D483-403F-B649-28618EBCE130}"/>
                </a:ext>
              </a:extLst>
            </p:cNvPr>
            <p:cNvSpPr/>
            <p:nvPr/>
          </p:nvSpPr>
          <p:spPr>
            <a:xfrm>
              <a:off x="4963463" y="4297995"/>
              <a:ext cx="59582" cy="174106"/>
            </a:xfrm>
            <a:custGeom>
              <a:avLst/>
              <a:gdLst>
                <a:gd name="connsiteX0" fmla="*/ -216 w 59582"/>
                <a:gd name="connsiteY0" fmla="*/ 173979 h 174106"/>
                <a:gd name="connsiteX1" fmla="*/ 36219 w 59582"/>
                <a:gd name="connsiteY1" fmla="*/ -128 h 174106"/>
                <a:gd name="connsiteX2" fmla="*/ 59367 w 59582"/>
                <a:gd name="connsiteY2" fmla="*/ -128 h 174106"/>
                <a:gd name="connsiteX3" fmla="*/ 23043 w 59582"/>
                <a:gd name="connsiteY3" fmla="*/ 173979 h 1741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582" h="174106">
                  <a:moveTo>
                    <a:pt x="-216" y="173979"/>
                  </a:moveTo>
                  <a:lnTo>
                    <a:pt x="36219" y="-128"/>
                  </a:lnTo>
                  <a:lnTo>
                    <a:pt x="59367" y="-128"/>
                  </a:lnTo>
                  <a:lnTo>
                    <a:pt x="23043" y="173979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25459BCC-9891-4CAD-8055-922F30FE07BE}"/>
                </a:ext>
              </a:extLst>
            </p:cNvPr>
            <p:cNvSpPr/>
            <p:nvPr/>
          </p:nvSpPr>
          <p:spPr>
            <a:xfrm>
              <a:off x="5023957" y="4343085"/>
              <a:ext cx="120284" cy="129016"/>
            </a:xfrm>
            <a:custGeom>
              <a:avLst/>
              <a:gdLst>
                <a:gd name="connsiteX0" fmla="*/ -216 w 120284"/>
                <a:gd name="connsiteY0" fmla="*/ 128889 h 129016"/>
                <a:gd name="connsiteX1" fmla="*/ 26136 w 120284"/>
                <a:gd name="connsiteY1" fmla="*/ 2780 h 129016"/>
                <a:gd name="connsiteX2" fmla="*/ 45599 w 120284"/>
                <a:gd name="connsiteY2" fmla="*/ 2780 h 129016"/>
                <a:gd name="connsiteX3" fmla="*/ 40970 w 120284"/>
                <a:gd name="connsiteY3" fmla="*/ 24751 h 129016"/>
                <a:gd name="connsiteX4" fmla="*/ 64725 w 120284"/>
                <a:gd name="connsiteY4" fmla="*/ 5864 h 129016"/>
                <a:gd name="connsiteX5" fmla="*/ 87277 w 120284"/>
                <a:gd name="connsiteY5" fmla="*/ -72 h 129016"/>
                <a:gd name="connsiteX6" fmla="*/ 111314 w 120284"/>
                <a:gd name="connsiteY6" fmla="*/ 8219 h 129016"/>
                <a:gd name="connsiteX7" fmla="*/ 120037 w 120284"/>
                <a:gd name="connsiteY7" fmla="*/ 30427 h 129016"/>
                <a:gd name="connsiteX8" fmla="*/ 116949 w 120284"/>
                <a:gd name="connsiteY8" fmla="*/ 52536 h 129016"/>
                <a:gd name="connsiteX9" fmla="*/ 100928 w 120284"/>
                <a:gd name="connsiteY9" fmla="*/ 128889 h 129016"/>
                <a:gd name="connsiteX10" fmla="*/ 79443 w 120284"/>
                <a:gd name="connsiteY10" fmla="*/ 128889 h 129016"/>
                <a:gd name="connsiteX11" fmla="*/ 96182 w 120284"/>
                <a:gd name="connsiteY11" fmla="*/ 48971 h 129016"/>
                <a:gd name="connsiteX12" fmla="*/ 98674 w 120284"/>
                <a:gd name="connsiteY12" fmla="*/ 31754 h 129016"/>
                <a:gd name="connsiteX13" fmla="*/ 94343 w 120284"/>
                <a:gd name="connsiteY13" fmla="*/ 21540 h 129016"/>
                <a:gd name="connsiteX14" fmla="*/ 81818 w 120284"/>
                <a:gd name="connsiteY14" fmla="*/ 17621 h 129016"/>
                <a:gd name="connsiteX15" fmla="*/ 52444 w 120284"/>
                <a:gd name="connsiteY15" fmla="*/ 29499 h 129016"/>
                <a:gd name="connsiteX16" fmla="*/ 33512 w 120284"/>
                <a:gd name="connsiteY16" fmla="*/ 70229 h 129016"/>
                <a:gd name="connsiteX17" fmla="*/ 21286 w 120284"/>
                <a:gd name="connsiteY17" fmla="*/ 128889 h 129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284" h="129016">
                  <a:moveTo>
                    <a:pt x="-216" y="128889"/>
                  </a:moveTo>
                  <a:lnTo>
                    <a:pt x="26136" y="2780"/>
                  </a:lnTo>
                  <a:lnTo>
                    <a:pt x="45599" y="2780"/>
                  </a:lnTo>
                  <a:lnTo>
                    <a:pt x="40970" y="24751"/>
                  </a:lnTo>
                  <a:cubicBezTo>
                    <a:pt x="47914" y="17322"/>
                    <a:pt x="55919" y="10955"/>
                    <a:pt x="64725" y="5864"/>
                  </a:cubicBezTo>
                  <a:cubicBezTo>
                    <a:pt x="71626" y="2029"/>
                    <a:pt x="79382" y="-11"/>
                    <a:pt x="87277" y="-72"/>
                  </a:cubicBezTo>
                  <a:cubicBezTo>
                    <a:pt x="96066" y="-580"/>
                    <a:pt x="104707" y="2399"/>
                    <a:pt x="111314" y="8219"/>
                  </a:cubicBezTo>
                  <a:cubicBezTo>
                    <a:pt x="117247" y="14045"/>
                    <a:pt x="120419" y="22120"/>
                    <a:pt x="120037" y="30427"/>
                  </a:cubicBezTo>
                  <a:cubicBezTo>
                    <a:pt x="119673" y="37873"/>
                    <a:pt x="118640" y="45273"/>
                    <a:pt x="116949" y="52536"/>
                  </a:cubicBezTo>
                  <a:lnTo>
                    <a:pt x="100928" y="128889"/>
                  </a:lnTo>
                  <a:lnTo>
                    <a:pt x="79443" y="128889"/>
                  </a:lnTo>
                  <a:lnTo>
                    <a:pt x="96182" y="48971"/>
                  </a:lnTo>
                  <a:cubicBezTo>
                    <a:pt x="97552" y="43323"/>
                    <a:pt x="98387" y="37557"/>
                    <a:pt x="98674" y="31754"/>
                  </a:cubicBezTo>
                  <a:cubicBezTo>
                    <a:pt x="98806" y="27874"/>
                    <a:pt x="97221" y="24138"/>
                    <a:pt x="94343" y="21540"/>
                  </a:cubicBezTo>
                  <a:cubicBezTo>
                    <a:pt x="90807" y="18710"/>
                    <a:pt x="86338" y="17311"/>
                    <a:pt x="81818" y="17621"/>
                  </a:cubicBezTo>
                  <a:cubicBezTo>
                    <a:pt x="70858" y="17604"/>
                    <a:pt x="60317" y="21866"/>
                    <a:pt x="52444" y="29499"/>
                  </a:cubicBezTo>
                  <a:cubicBezTo>
                    <a:pt x="43854" y="37419"/>
                    <a:pt x="37539" y="50994"/>
                    <a:pt x="33512" y="70229"/>
                  </a:cubicBezTo>
                  <a:lnTo>
                    <a:pt x="21286" y="128889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67D74C1C-BF0C-4BA4-8835-1C879418E42B}"/>
                </a:ext>
              </a:extLst>
            </p:cNvPr>
            <p:cNvSpPr/>
            <p:nvPr/>
          </p:nvSpPr>
          <p:spPr>
            <a:xfrm>
              <a:off x="5162699" y="4297973"/>
              <a:ext cx="132585" cy="176988"/>
            </a:xfrm>
            <a:custGeom>
              <a:avLst/>
              <a:gdLst>
                <a:gd name="connsiteX0" fmla="*/ 80008 w 132585"/>
                <a:gd name="connsiteY0" fmla="*/ 155717 h 176988"/>
                <a:gd name="connsiteX1" fmla="*/ 41551 w 132585"/>
                <a:gd name="connsiteY1" fmla="*/ 176853 h 176988"/>
                <a:gd name="connsiteX2" fmla="*/ 11719 w 132585"/>
                <a:gd name="connsiteY2" fmla="*/ 163588 h 176988"/>
                <a:gd name="connsiteX3" fmla="*/ -209 w 132585"/>
                <a:gd name="connsiteY3" fmla="*/ 125174 h 176988"/>
                <a:gd name="connsiteX4" fmla="*/ 9227 w 132585"/>
                <a:gd name="connsiteY4" fmla="*/ 83079 h 176988"/>
                <a:gd name="connsiteX5" fmla="*/ 32845 w 132585"/>
                <a:gd name="connsiteY5" fmla="*/ 54520 h 176988"/>
                <a:gd name="connsiteX6" fmla="*/ 61268 w 132585"/>
                <a:gd name="connsiteY6" fmla="*/ 45018 h 176988"/>
                <a:gd name="connsiteX7" fmla="*/ 96758 w 132585"/>
                <a:gd name="connsiteY7" fmla="*/ 67680 h 176988"/>
                <a:gd name="connsiteX8" fmla="*/ 111001 w 132585"/>
                <a:gd name="connsiteY8" fmla="*/ -128 h 176988"/>
                <a:gd name="connsiteX9" fmla="*/ 132370 w 132585"/>
                <a:gd name="connsiteY9" fmla="*/ -128 h 176988"/>
                <a:gd name="connsiteX10" fmla="*/ 96046 w 132585"/>
                <a:gd name="connsiteY10" fmla="*/ 173979 h 176988"/>
                <a:gd name="connsiteX11" fmla="*/ 76229 w 132585"/>
                <a:gd name="connsiteY11" fmla="*/ 173979 h 176988"/>
                <a:gd name="connsiteX12" fmla="*/ 21138 w 132585"/>
                <a:gd name="connsiteY12" fmla="*/ 121161 h 176988"/>
                <a:gd name="connsiteX13" fmla="*/ 23746 w 132585"/>
                <a:gd name="connsiteY13" fmla="*/ 141944 h 176988"/>
                <a:gd name="connsiteX14" fmla="*/ 32651 w 132585"/>
                <a:gd name="connsiteY14" fmla="*/ 154590 h 176988"/>
                <a:gd name="connsiteX15" fmla="*/ 47722 w 132585"/>
                <a:gd name="connsiteY15" fmla="*/ 159636 h 176988"/>
                <a:gd name="connsiteX16" fmla="*/ 74190 w 132585"/>
                <a:gd name="connsiteY16" fmla="*/ 144436 h 176988"/>
                <a:gd name="connsiteX17" fmla="*/ 90096 w 132585"/>
                <a:gd name="connsiteY17" fmla="*/ 94559 h 176988"/>
                <a:gd name="connsiteX18" fmla="*/ 82262 w 132585"/>
                <a:gd name="connsiteY18" fmla="*/ 71168 h 176988"/>
                <a:gd name="connsiteX19" fmla="*/ 62561 w 132585"/>
                <a:gd name="connsiteY19" fmla="*/ 62733 h 176988"/>
                <a:gd name="connsiteX20" fmla="*/ 48496 w 132585"/>
                <a:gd name="connsiteY20" fmla="*/ 66177 h 176988"/>
                <a:gd name="connsiteX21" fmla="*/ 35916 w 132585"/>
                <a:gd name="connsiteY21" fmla="*/ 77878 h 176988"/>
                <a:gd name="connsiteX22" fmla="*/ 25419 w 132585"/>
                <a:gd name="connsiteY22" fmla="*/ 98837 h 176988"/>
                <a:gd name="connsiteX23" fmla="*/ 21138 w 132585"/>
                <a:gd name="connsiteY23" fmla="*/ 121161 h 1769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2585" h="176988">
                  <a:moveTo>
                    <a:pt x="80008" y="155717"/>
                  </a:moveTo>
                  <a:cubicBezTo>
                    <a:pt x="67743" y="169806"/>
                    <a:pt x="54926" y="176848"/>
                    <a:pt x="41551" y="176853"/>
                  </a:cubicBezTo>
                  <a:cubicBezTo>
                    <a:pt x="30132" y="177080"/>
                    <a:pt x="19204" y="172222"/>
                    <a:pt x="11719" y="163588"/>
                  </a:cubicBezTo>
                  <a:cubicBezTo>
                    <a:pt x="3763" y="154767"/>
                    <a:pt x="-214" y="141960"/>
                    <a:pt x="-209" y="125174"/>
                  </a:cubicBezTo>
                  <a:cubicBezTo>
                    <a:pt x="-386" y="110599"/>
                    <a:pt x="2846" y="96184"/>
                    <a:pt x="9227" y="83079"/>
                  </a:cubicBezTo>
                  <a:cubicBezTo>
                    <a:pt x="14448" y="71643"/>
                    <a:pt x="22596" y="61794"/>
                    <a:pt x="32845" y="54520"/>
                  </a:cubicBezTo>
                  <a:cubicBezTo>
                    <a:pt x="41148" y="48561"/>
                    <a:pt x="51054" y="45251"/>
                    <a:pt x="61268" y="45018"/>
                  </a:cubicBezTo>
                  <a:cubicBezTo>
                    <a:pt x="76566" y="44775"/>
                    <a:pt x="90538" y="53696"/>
                    <a:pt x="96758" y="67680"/>
                  </a:cubicBezTo>
                  <a:lnTo>
                    <a:pt x="111001" y="-128"/>
                  </a:lnTo>
                  <a:lnTo>
                    <a:pt x="132370" y="-128"/>
                  </a:lnTo>
                  <a:lnTo>
                    <a:pt x="96046" y="173979"/>
                  </a:lnTo>
                  <a:lnTo>
                    <a:pt x="76229" y="173979"/>
                  </a:lnTo>
                  <a:close/>
                  <a:moveTo>
                    <a:pt x="21138" y="121161"/>
                  </a:moveTo>
                  <a:cubicBezTo>
                    <a:pt x="20900" y="128181"/>
                    <a:pt x="21779" y="135201"/>
                    <a:pt x="23746" y="141944"/>
                  </a:cubicBezTo>
                  <a:cubicBezTo>
                    <a:pt x="25431" y="146929"/>
                    <a:pt x="28524" y="151323"/>
                    <a:pt x="32651" y="154590"/>
                  </a:cubicBezTo>
                  <a:cubicBezTo>
                    <a:pt x="36927" y="157983"/>
                    <a:pt x="42264" y="159769"/>
                    <a:pt x="47722" y="159636"/>
                  </a:cubicBezTo>
                  <a:cubicBezTo>
                    <a:pt x="57456" y="159636"/>
                    <a:pt x="66279" y="154568"/>
                    <a:pt x="74190" y="144436"/>
                  </a:cubicBezTo>
                  <a:cubicBezTo>
                    <a:pt x="85068" y="130138"/>
                    <a:pt x="90687" y="112522"/>
                    <a:pt x="90096" y="94559"/>
                  </a:cubicBezTo>
                  <a:cubicBezTo>
                    <a:pt x="90604" y="86041"/>
                    <a:pt x="87797" y="77662"/>
                    <a:pt x="82262" y="71168"/>
                  </a:cubicBezTo>
                  <a:cubicBezTo>
                    <a:pt x="77229" y="65629"/>
                    <a:pt x="70042" y="62551"/>
                    <a:pt x="62561" y="62733"/>
                  </a:cubicBezTo>
                  <a:cubicBezTo>
                    <a:pt x="57655" y="62673"/>
                    <a:pt x="52816" y="63861"/>
                    <a:pt x="48496" y="66177"/>
                  </a:cubicBezTo>
                  <a:cubicBezTo>
                    <a:pt x="43529" y="69150"/>
                    <a:pt x="39242" y="73136"/>
                    <a:pt x="35916" y="77878"/>
                  </a:cubicBezTo>
                  <a:cubicBezTo>
                    <a:pt x="31320" y="84256"/>
                    <a:pt x="27778" y="91336"/>
                    <a:pt x="25419" y="98837"/>
                  </a:cubicBezTo>
                  <a:cubicBezTo>
                    <a:pt x="22812" y="106000"/>
                    <a:pt x="21365" y="113539"/>
                    <a:pt x="21138" y="12116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73F43A01-EA14-4D92-B3AE-4EB269886131}"/>
                </a:ext>
              </a:extLst>
            </p:cNvPr>
            <p:cNvSpPr/>
            <p:nvPr/>
          </p:nvSpPr>
          <p:spPr>
            <a:xfrm>
              <a:off x="5299038" y="4345993"/>
              <a:ext cx="120372" cy="128994"/>
            </a:xfrm>
            <a:custGeom>
              <a:avLst/>
              <a:gdLst>
                <a:gd name="connsiteX0" fmla="*/ 78711 w 120372"/>
                <a:gd name="connsiteY0" fmla="*/ 103181 h 128994"/>
                <a:gd name="connsiteX1" fmla="*/ 32305 w 120372"/>
                <a:gd name="connsiteY1" fmla="*/ 128833 h 128994"/>
                <a:gd name="connsiteX2" fmla="*/ 8748 w 120372"/>
                <a:gd name="connsiteY2" fmla="*/ 120460 h 128994"/>
                <a:gd name="connsiteX3" fmla="*/ -213 w 120372"/>
                <a:gd name="connsiteY3" fmla="*/ 99976 h 128994"/>
                <a:gd name="connsiteX4" fmla="*/ 3820 w 120372"/>
                <a:gd name="connsiteY4" fmla="*/ 72666 h 128994"/>
                <a:gd name="connsiteX5" fmla="*/ 19013 w 120372"/>
                <a:gd name="connsiteY5" fmla="*/ -128 h 128994"/>
                <a:gd name="connsiteX6" fmla="*/ 40498 w 120372"/>
                <a:gd name="connsiteY6" fmla="*/ -128 h 128994"/>
                <a:gd name="connsiteX7" fmla="*/ 23637 w 120372"/>
                <a:gd name="connsiteY7" fmla="*/ 80503 h 128994"/>
                <a:gd name="connsiteX8" fmla="*/ 21499 w 120372"/>
                <a:gd name="connsiteY8" fmla="*/ 96179 h 128994"/>
                <a:gd name="connsiteX9" fmla="*/ 25836 w 120372"/>
                <a:gd name="connsiteY9" fmla="*/ 107277 h 128994"/>
                <a:gd name="connsiteX10" fmla="*/ 38592 w 120372"/>
                <a:gd name="connsiteY10" fmla="*/ 111257 h 128994"/>
                <a:gd name="connsiteX11" fmla="*/ 56221 w 120372"/>
                <a:gd name="connsiteY11" fmla="*/ 106863 h 128994"/>
                <a:gd name="connsiteX12" fmla="*/ 71054 w 120372"/>
                <a:gd name="connsiteY12" fmla="*/ 94990 h 128994"/>
                <a:gd name="connsiteX13" fmla="*/ 81203 w 120372"/>
                <a:gd name="connsiteY13" fmla="*/ 77303 h 128994"/>
                <a:gd name="connsiteX14" fmla="*/ 87280 w 120372"/>
                <a:gd name="connsiteY14" fmla="*/ 54382 h 128994"/>
                <a:gd name="connsiteX15" fmla="*/ 98672 w 120372"/>
                <a:gd name="connsiteY15" fmla="*/ -122 h 128994"/>
                <a:gd name="connsiteX16" fmla="*/ 120157 w 120372"/>
                <a:gd name="connsiteY16" fmla="*/ -122 h 128994"/>
                <a:gd name="connsiteX17" fmla="*/ 93805 w 120372"/>
                <a:gd name="connsiteY17" fmla="*/ 125987 h 128994"/>
                <a:gd name="connsiteX18" fmla="*/ 73982 w 120372"/>
                <a:gd name="connsiteY18" fmla="*/ 125987 h 128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20372" h="128994">
                  <a:moveTo>
                    <a:pt x="78711" y="103181"/>
                  </a:moveTo>
                  <a:cubicBezTo>
                    <a:pt x="63613" y="120282"/>
                    <a:pt x="48144" y="128833"/>
                    <a:pt x="32305" y="128833"/>
                  </a:cubicBezTo>
                  <a:cubicBezTo>
                    <a:pt x="23659" y="129226"/>
                    <a:pt x="15207" y="126219"/>
                    <a:pt x="8748" y="120460"/>
                  </a:cubicBezTo>
                  <a:cubicBezTo>
                    <a:pt x="2936" y="115253"/>
                    <a:pt x="-334" y="107780"/>
                    <a:pt x="-213" y="99976"/>
                  </a:cubicBezTo>
                  <a:cubicBezTo>
                    <a:pt x="323" y="90773"/>
                    <a:pt x="1677" y="81631"/>
                    <a:pt x="3820" y="72666"/>
                  </a:cubicBezTo>
                  <a:lnTo>
                    <a:pt x="19013" y="-128"/>
                  </a:lnTo>
                  <a:lnTo>
                    <a:pt x="40498" y="-128"/>
                  </a:lnTo>
                  <a:lnTo>
                    <a:pt x="23637" y="80503"/>
                  </a:lnTo>
                  <a:cubicBezTo>
                    <a:pt x="22416" y="85649"/>
                    <a:pt x="21698" y="90895"/>
                    <a:pt x="21499" y="96179"/>
                  </a:cubicBezTo>
                  <a:cubicBezTo>
                    <a:pt x="21262" y="100335"/>
                    <a:pt x="22847" y="104386"/>
                    <a:pt x="25836" y="107277"/>
                  </a:cubicBezTo>
                  <a:cubicBezTo>
                    <a:pt x="29432" y="110173"/>
                    <a:pt x="33990" y="111594"/>
                    <a:pt x="38592" y="111257"/>
                  </a:cubicBezTo>
                  <a:cubicBezTo>
                    <a:pt x="44735" y="111229"/>
                    <a:pt x="50779" y="109720"/>
                    <a:pt x="56221" y="106863"/>
                  </a:cubicBezTo>
                  <a:cubicBezTo>
                    <a:pt x="61922" y="103961"/>
                    <a:pt x="66972" y="99920"/>
                    <a:pt x="71054" y="94990"/>
                  </a:cubicBezTo>
                  <a:cubicBezTo>
                    <a:pt x="75386" y="89695"/>
                    <a:pt x="78816" y="83715"/>
                    <a:pt x="81203" y="77303"/>
                  </a:cubicBezTo>
                  <a:cubicBezTo>
                    <a:pt x="83800" y="69825"/>
                    <a:pt x="85833" y="62164"/>
                    <a:pt x="87280" y="54382"/>
                  </a:cubicBezTo>
                  <a:lnTo>
                    <a:pt x="98672" y="-122"/>
                  </a:lnTo>
                  <a:lnTo>
                    <a:pt x="120157" y="-122"/>
                  </a:lnTo>
                  <a:lnTo>
                    <a:pt x="93805" y="125987"/>
                  </a:lnTo>
                  <a:lnTo>
                    <a:pt x="73982" y="125987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A4D1A149-36AB-4CED-B36B-03CAA20958DE}"/>
                </a:ext>
              </a:extLst>
            </p:cNvPr>
            <p:cNvSpPr/>
            <p:nvPr/>
          </p:nvSpPr>
          <p:spPr>
            <a:xfrm>
              <a:off x="5427864" y="4343050"/>
              <a:ext cx="111839" cy="131960"/>
            </a:xfrm>
            <a:custGeom>
              <a:avLst/>
              <a:gdLst>
                <a:gd name="connsiteX0" fmla="*/ -172 w 111839"/>
                <a:gd name="connsiteY0" fmla="*/ 85823 h 131960"/>
                <a:gd name="connsiteX1" fmla="*/ 21313 w 111839"/>
                <a:gd name="connsiteY1" fmla="*/ 84513 h 131960"/>
                <a:gd name="connsiteX2" fmla="*/ 24158 w 111839"/>
                <a:gd name="connsiteY2" fmla="*/ 100309 h 131960"/>
                <a:gd name="connsiteX3" fmla="*/ 34654 w 111839"/>
                <a:gd name="connsiteY3" fmla="*/ 110994 h 131960"/>
                <a:gd name="connsiteX4" fmla="*/ 52515 w 111839"/>
                <a:gd name="connsiteY4" fmla="*/ 115150 h 131960"/>
                <a:gd name="connsiteX5" fmla="*/ 73879 w 111839"/>
                <a:gd name="connsiteY5" fmla="*/ 109451 h 131960"/>
                <a:gd name="connsiteX6" fmla="*/ 81000 w 111839"/>
                <a:gd name="connsiteY6" fmla="*/ 96031 h 131960"/>
                <a:gd name="connsiteX7" fmla="*/ 76729 w 111839"/>
                <a:gd name="connsiteY7" fmla="*/ 85464 h 131960"/>
                <a:gd name="connsiteX8" fmla="*/ 55305 w 111839"/>
                <a:gd name="connsiteY8" fmla="*/ 73171 h 131960"/>
                <a:gd name="connsiteX9" fmla="*/ 33522 w 111839"/>
                <a:gd name="connsiteY9" fmla="*/ 62901 h 131960"/>
                <a:gd name="connsiteX10" fmla="*/ 21539 w 111839"/>
                <a:gd name="connsiteY10" fmla="*/ 51443 h 131960"/>
                <a:gd name="connsiteX11" fmla="*/ 17501 w 111839"/>
                <a:gd name="connsiteY11" fmla="*/ 36299 h 131960"/>
                <a:gd name="connsiteX12" fmla="*/ 29373 w 111839"/>
                <a:gd name="connsiteY12" fmla="*/ 10653 h 131960"/>
                <a:gd name="connsiteX13" fmla="*/ 62603 w 111839"/>
                <a:gd name="connsiteY13" fmla="*/ -37 h 131960"/>
                <a:gd name="connsiteX14" fmla="*/ 98745 w 111839"/>
                <a:gd name="connsiteY14" fmla="*/ 10951 h 131960"/>
                <a:gd name="connsiteX15" fmla="*/ 111623 w 111839"/>
                <a:gd name="connsiteY15" fmla="*/ 39864 h 131960"/>
                <a:gd name="connsiteX16" fmla="*/ 90629 w 111839"/>
                <a:gd name="connsiteY16" fmla="*/ 41290 h 131960"/>
                <a:gd name="connsiteX17" fmla="*/ 82563 w 111839"/>
                <a:gd name="connsiteY17" fmla="*/ 23238 h 131960"/>
                <a:gd name="connsiteX18" fmla="*/ 61078 w 111839"/>
                <a:gd name="connsiteY18" fmla="*/ 16606 h 131960"/>
                <a:gd name="connsiteX19" fmla="*/ 43748 w 111839"/>
                <a:gd name="connsiteY19" fmla="*/ 21713 h 131960"/>
                <a:gd name="connsiteX20" fmla="*/ 37577 w 111839"/>
                <a:gd name="connsiteY20" fmla="*/ 32767 h 131960"/>
                <a:gd name="connsiteX21" fmla="*/ 42919 w 111839"/>
                <a:gd name="connsiteY21" fmla="*/ 43219 h 131960"/>
                <a:gd name="connsiteX22" fmla="*/ 61316 w 111839"/>
                <a:gd name="connsiteY22" fmla="*/ 52715 h 131960"/>
                <a:gd name="connsiteX23" fmla="*/ 92414 w 111839"/>
                <a:gd name="connsiteY23" fmla="*/ 69578 h 131960"/>
                <a:gd name="connsiteX24" fmla="*/ 102618 w 111839"/>
                <a:gd name="connsiteY24" fmla="*/ 93566 h 131960"/>
                <a:gd name="connsiteX25" fmla="*/ 96861 w 111839"/>
                <a:gd name="connsiteY25" fmla="*/ 111972 h 131960"/>
                <a:gd name="connsiteX26" fmla="*/ 79298 w 111839"/>
                <a:gd name="connsiteY26" fmla="*/ 126398 h 131960"/>
                <a:gd name="connsiteX27" fmla="*/ 51466 w 111839"/>
                <a:gd name="connsiteY27" fmla="*/ 131803 h 131960"/>
                <a:gd name="connsiteX28" fmla="*/ 14313 w 111839"/>
                <a:gd name="connsiteY28" fmla="*/ 120998 h 131960"/>
                <a:gd name="connsiteX29" fmla="*/ -172 w 111839"/>
                <a:gd name="connsiteY29" fmla="*/ 85823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1839" h="131960">
                  <a:moveTo>
                    <a:pt x="-172" y="85823"/>
                  </a:moveTo>
                  <a:lnTo>
                    <a:pt x="21313" y="84513"/>
                  </a:lnTo>
                  <a:cubicBezTo>
                    <a:pt x="21169" y="89918"/>
                    <a:pt x="22136" y="95296"/>
                    <a:pt x="24158" y="100309"/>
                  </a:cubicBezTo>
                  <a:cubicBezTo>
                    <a:pt x="26340" y="104958"/>
                    <a:pt x="30041" y="108727"/>
                    <a:pt x="34654" y="110994"/>
                  </a:cubicBezTo>
                  <a:cubicBezTo>
                    <a:pt x="40162" y="113862"/>
                    <a:pt x="46306" y="115294"/>
                    <a:pt x="52515" y="115150"/>
                  </a:cubicBezTo>
                  <a:cubicBezTo>
                    <a:pt x="60073" y="115703"/>
                    <a:pt x="67597" y="113696"/>
                    <a:pt x="73879" y="109451"/>
                  </a:cubicBezTo>
                  <a:cubicBezTo>
                    <a:pt x="78254" y="106367"/>
                    <a:pt x="80900" y="101387"/>
                    <a:pt x="81000" y="96031"/>
                  </a:cubicBezTo>
                  <a:cubicBezTo>
                    <a:pt x="80917" y="92102"/>
                    <a:pt x="79398" y="88343"/>
                    <a:pt x="76729" y="85464"/>
                  </a:cubicBezTo>
                  <a:cubicBezTo>
                    <a:pt x="70404" y="80085"/>
                    <a:pt x="63139" y="75918"/>
                    <a:pt x="55305" y="73171"/>
                  </a:cubicBezTo>
                  <a:cubicBezTo>
                    <a:pt x="47847" y="70181"/>
                    <a:pt x="40571" y="66754"/>
                    <a:pt x="33522" y="62901"/>
                  </a:cubicBezTo>
                  <a:cubicBezTo>
                    <a:pt x="28671" y="60094"/>
                    <a:pt x="24561" y="56164"/>
                    <a:pt x="21539" y="51443"/>
                  </a:cubicBezTo>
                  <a:cubicBezTo>
                    <a:pt x="18799" y="46878"/>
                    <a:pt x="17396" y="41627"/>
                    <a:pt x="17501" y="36299"/>
                  </a:cubicBezTo>
                  <a:cubicBezTo>
                    <a:pt x="17462" y="26411"/>
                    <a:pt x="21810" y="17014"/>
                    <a:pt x="29373" y="10653"/>
                  </a:cubicBezTo>
                  <a:cubicBezTo>
                    <a:pt x="38715" y="3036"/>
                    <a:pt x="50576" y="-778"/>
                    <a:pt x="62603" y="-37"/>
                  </a:cubicBezTo>
                  <a:cubicBezTo>
                    <a:pt x="78442" y="-37"/>
                    <a:pt x="90486" y="3628"/>
                    <a:pt x="98745" y="10951"/>
                  </a:cubicBezTo>
                  <a:cubicBezTo>
                    <a:pt x="107015" y="18269"/>
                    <a:pt x="111711" y="28815"/>
                    <a:pt x="111623" y="39864"/>
                  </a:cubicBezTo>
                  <a:lnTo>
                    <a:pt x="90629" y="41290"/>
                  </a:lnTo>
                  <a:cubicBezTo>
                    <a:pt x="90635" y="34398"/>
                    <a:pt x="87701" y="27831"/>
                    <a:pt x="82563" y="23238"/>
                  </a:cubicBezTo>
                  <a:cubicBezTo>
                    <a:pt x="76459" y="18468"/>
                    <a:pt x="68813" y="16108"/>
                    <a:pt x="61078" y="16606"/>
                  </a:cubicBezTo>
                  <a:cubicBezTo>
                    <a:pt x="54880" y="16224"/>
                    <a:pt x="48747" y="18032"/>
                    <a:pt x="43748" y="21713"/>
                  </a:cubicBezTo>
                  <a:cubicBezTo>
                    <a:pt x="40096" y="24250"/>
                    <a:pt x="37820" y="28329"/>
                    <a:pt x="37577" y="32767"/>
                  </a:cubicBezTo>
                  <a:cubicBezTo>
                    <a:pt x="37654" y="36890"/>
                    <a:pt x="39626" y="40743"/>
                    <a:pt x="42919" y="43219"/>
                  </a:cubicBezTo>
                  <a:cubicBezTo>
                    <a:pt x="48659" y="47088"/>
                    <a:pt x="54836" y="50277"/>
                    <a:pt x="61316" y="52715"/>
                  </a:cubicBezTo>
                  <a:cubicBezTo>
                    <a:pt x="72437" y="56822"/>
                    <a:pt x="82906" y="62498"/>
                    <a:pt x="92414" y="69578"/>
                  </a:cubicBezTo>
                  <a:cubicBezTo>
                    <a:pt x="99054" y="75769"/>
                    <a:pt x="102761" y="84485"/>
                    <a:pt x="102618" y="93566"/>
                  </a:cubicBezTo>
                  <a:cubicBezTo>
                    <a:pt x="102524" y="100133"/>
                    <a:pt x="100524" y="106528"/>
                    <a:pt x="96861" y="111972"/>
                  </a:cubicBezTo>
                  <a:cubicBezTo>
                    <a:pt x="92541" y="118395"/>
                    <a:pt x="86436" y="123408"/>
                    <a:pt x="79298" y="126398"/>
                  </a:cubicBezTo>
                  <a:cubicBezTo>
                    <a:pt x="70520" y="130184"/>
                    <a:pt x="61023" y="132030"/>
                    <a:pt x="51466" y="131803"/>
                  </a:cubicBezTo>
                  <a:cubicBezTo>
                    <a:pt x="38251" y="132207"/>
                    <a:pt x="25252" y="128427"/>
                    <a:pt x="14313" y="120998"/>
                  </a:cubicBezTo>
                  <a:cubicBezTo>
                    <a:pt x="4098" y="113774"/>
                    <a:pt x="-731" y="102051"/>
                    <a:pt x="-172" y="85823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ED19BD9C-0B1B-45D3-A6D6-5DBB63A14919}"/>
                </a:ext>
              </a:extLst>
            </p:cNvPr>
            <p:cNvSpPr/>
            <p:nvPr/>
          </p:nvSpPr>
          <p:spPr>
            <a:xfrm>
              <a:off x="5551752" y="4300156"/>
              <a:ext cx="64509" cy="174129"/>
            </a:xfrm>
            <a:custGeom>
              <a:avLst/>
              <a:gdLst>
                <a:gd name="connsiteX0" fmla="*/ 44450 w 64509"/>
                <a:gd name="connsiteY0" fmla="*/ 154364 h 174129"/>
                <a:gd name="connsiteX1" fmla="*/ 40892 w 64509"/>
                <a:gd name="connsiteY1" fmla="*/ 171940 h 174129"/>
                <a:gd name="connsiteX2" fmla="*/ 25937 w 64509"/>
                <a:gd name="connsiteY2" fmla="*/ 173957 h 174129"/>
                <a:gd name="connsiteX3" fmla="*/ 5496 w 64509"/>
                <a:gd name="connsiteY3" fmla="*/ 167662 h 174129"/>
                <a:gd name="connsiteX4" fmla="*/ -200 w 64509"/>
                <a:gd name="connsiteY4" fmla="*/ 154723 h 174129"/>
                <a:gd name="connsiteX5" fmla="*/ 2888 w 64509"/>
                <a:gd name="connsiteY5" fmla="*/ 135604 h 174129"/>
                <a:gd name="connsiteX6" fmla="*/ 18197 w 64509"/>
                <a:gd name="connsiteY6" fmla="*/ 62336 h 174129"/>
                <a:gd name="connsiteX7" fmla="*/ 1242 w 64509"/>
                <a:gd name="connsiteY7" fmla="*/ 62336 h 174129"/>
                <a:gd name="connsiteX8" fmla="*/ 4684 w 64509"/>
                <a:gd name="connsiteY8" fmla="*/ 45710 h 174129"/>
                <a:gd name="connsiteX9" fmla="*/ 21683 w 64509"/>
                <a:gd name="connsiteY9" fmla="*/ 45710 h 174129"/>
                <a:gd name="connsiteX10" fmla="*/ 28213 w 64509"/>
                <a:gd name="connsiteY10" fmla="*/ 14719 h 174129"/>
                <a:gd name="connsiteX11" fmla="*/ 52781 w 64509"/>
                <a:gd name="connsiteY11" fmla="*/ -128 h 174129"/>
                <a:gd name="connsiteX12" fmla="*/ 43168 w 64509"/>
                <a:gd name="connsiteY12" fmla="*/ 45710 h 174129"/>
                <a:gd name="connsiteX13" fmla="*/ 64294 w 64509"/>
                <a:gd name="connsiteY13" fmla="*/ 45710 h 174129"/>
                <a:gd name="connsiteX14" fmla="*/ 60736 w 64509"/>
                <a:gd name="connsiteY14" fmla="*/ 62336 h 174129"/>
                <a:gd name="connsiteX15" fmla="*/ 39743 w 64509"/>
                <a:gd name="connsiteY15" fmla="*/ 62336 h 174129"/>
                <a:gd name="connsiteX16" fmla="*/ 25141 w 64509"/>
                <a:gd name="connsiteY16" fmla="*/ 132039 h 174129"/>
                <a:gd name="connsiteX17" fmla="*/ 22412 w 64509"/>
                <a:gd name="connsiteY17" fmla="*/ 147952 h 174129"/>
                <a:gd name="connsiteX18" fmla="*/ 24622 w 64509"/>
                <a:gd name="connsiteY18" fmla="*/ 153772 h 174129"/>
                <a:gd name="connsiteX19" fmla="*/ 31804 w 64509"/>
                <a:gd name="connsiteY19" fmla="*/ 155790 h 174129"/>
                <a:gd name="connsiteX20" fmla="*/ 44450 w 64509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509" h="174129">
                  <a:moveTo>
                    <a:pt x="44450" y="154364"/>
                  </a:moveTo>
                  <a:lnTo>
                    <a:pt x="40892" y="171940"/>
                  </a:lnTo>
                  <a:cubicBezTo>
                    <a:pt x="36014" y="173250"/>
                    <a:pt x="30986" y="173924"/>
                    <a:pt x="25937" y="173957"/>
                  </a:cubicBezTo>
                  <a:cubicBezTo>
                    <a:pt x="18595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6" y="141889"/>
                    <a:pt x="2888" y="135604"/>
                  </a:cubicBezTo>
                  <a:lnTo>
                    <a:pt x="18197" y="62336"/>
                  </a:lnTo>
                  <a:lnTo>
                    <a:pt x="1242" y="62336"/>
                  </a:lnTo>
                  <a:lnTo>
                    <a:pt x="4684" y="45710"/>
                  </a:lnTo>
                  <a:lnTo>
                    <a:pt x="21683" y="45710"/>
                  </a:lnTo>
                  <a:lnTo>
                    <a:pt x="28213" y="14719"/>
                  </a:lnTo>
                  <a:lnTo>
                    <a:pt x="52781" y="-128"/>
                  </a:lnTo>
                  <a:lnTo>
                    <a:pt x="43168" y="45710"/>
                  </a:lnTo>
                  <a:lnTo>
                    <a:pt x="64294" y="45710"/>
                  </a:lnTo>
                  <a:lnTo>
                    <a:pt x="60736" y="62336"/>
                  </a:lnTo>
                  <a:lnTo>
                    <a:pt x="39743" y="62336"/>
                  </a:lnTo>
                  <a:lnTo>
                    <a:pt x="25141" y="132039"/>
                  </a:lnTo>
                  <a:cubicBezTo>
                    <a:pt x="23904" y="137284"/>
                    <a:pt x="22992" y="142596"/>
                    <a:pt x="22412" y="147952"/>
                  </a:cubicBezTo>
                  <a:cubicBezTo>
                    <a:pt x="22274" y="150119"/>
                    <a:pt x="23081" y="152241"/>
                    <a:pt x="24622" y="153772"/>
                  </a:cubicBezTo>
                  <a:cubicBezTo>
                    <a:pt x="26688" y="155309"/>
                    <a:pt x="29240" y="156027"/>
                    <a:pt x="31804" y="155790"/>
                  </a:cubicBezTo>
                  <a:cubicBezTo>
                    <a:pt x="36063" y="155839"/>
                    <a:pt x="40312" y="155358"/>
                    <a:pt x="44450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9408BE28-AD05-4032-9485-B4FC883515F8}"/>
                </a:ext>
              </a:extLst>
            </p:cNvPr>
            <p:cNvSpPr/>
            <p:nvPr/>
          </p:nvSpPr>
          <p:spPr>
            <a:xfrm>
              <a:off x="5612533" y="4343141"/>
              <a:ext cx="93884" cy="128960"/>
            </a:xfrm>
            <a:custGeom>
              <a:avLst/>
              <a:gdLst>
                <a:gd name="connsiteX0" fmla="*/ -216 w 93884"/>
                <a:gd name="connsiteY0" fmla="*/ 128833 h 128960"/>
                <a:gd name="connsiteX1" fmla="*/ 26136 w 93884"/>
                <a:gd name="connsiteY1" fmla="*/ 2724 h 128960"/>
                <a:gd name="connsiteX2" fmla="*/ 45124 w 93884"/>
                <a:gd name="connsiteY2" fmla="*/ 2724 h 128960"/>
                <a:gd name="connsiteX3" fmla="*/ 39788 w 93884"/>
                <a:gd name="connsiteY3" fmla="*/ 28492 h 128960"/>
                <a:gd name="connsiteX4" fmla="*/ 58836 w 93884"/>
                <a:gd name="connsiteY4" fmla="*/ 6881 h 128960"/>
                <a:gd name="connsiteX5" fmla="*/ 77885 w 93884"/>
                <a:gd name="connsiteY5" fmla="*/ -128 h 128960"/>
                <a:gd name="connsiteX6" fmla="*/ 93669 w 93884"/>
                <a:gd name="connsiteY6" fmla="*/ 4504 h 128960"/>
                <a:gd name="connsiteX7" fmla="*/ 84890 w 93884"/>
                <a:gd name="connsiteY7" fmla="*/ 24452 h 128960"/>
                <a:gd name="connsiteX8" fmla="*/ 72664 w 93884"/>
                <a:gd name="connsiteY8" fmla="*/ 20417 h 128960"/>
                <a:gd name="connsiteX9" fmla="*/ 49516 w 93884"/>
                <a:gd name="connsiteY9" fmla="*/ 33002 h 128960"/>
                <a:gd name="connsiteX10" fmla="*/ 30882 w 93884"/>
                <a:gd name="connsiteY10" fmla="*/ 78248 h 128960"/>
                <a:gd name="connsiteX11" fmla="*/ 20203 w 93884"/>
                <a:gd name="connsiteY11" fmla="*/ 128833 h 12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84" h="128960">
                  <a:moveTo>
                    <a:pt x="-216" y="128833"/>
                  </a:moveTo>
                  <a:lnTo>
                    <a:pt x="26136" y="2724"/>
                  </a:lnTo>
                  <a:lnTo>
                    <a:pt x="45124" y="2724"/>
                  </a:lnTo>
                  <a:lnTo>
                    <a:pt x="39788" y="28492"/>
                  </a:lnTo>
                  <a:cubicBezTo>
                    <a:pt x="44903" y="20284"/>
                    <a:pt x="51339" y="12983"/>
                    <a:pt x="58836" y="6881"/>
                  </a:cubicBezTo>
                  <a:cubicBezTo>
                    <a:pt x="64234" y="2503"/>
                    <a:pt x="70935" y="38"/>
                    <a:pt x="77885" y="-128"/>
                  </a:cubicBezTo>
                  <a:cubicBezTo>
                    <a:pt x="83426" y="226"/>
                    <a:pt x="88818" y="1807"/>
                    <a:pt x="93669" y="4504"/>
                  </a:cubicBezTo>
                  <a:lnTo>
                    <a:pt x="84890" y="24452"/>
                  </a:lnTo>
                  <a:cubicBezTo>
                    <a:pt x="81354" y="21826"/>
                    <a:pt x="77067" y="20412"/>
                    <a:pt x="72664" y="20417"/>
                  </a:cubicBezTo>
                  <a:cubicBezTo>
                    <a:pt x="65145" y="20417"/>
                    <a:pt x="57433" y="24612"/>
                    <a:pt x="49516" y="33002"/>
                  </a:cubicBezTo>
                  <a:cubicBezTo>
                    <a:pt x="41600" y="41393"/>
                    <a:pt x="35390" y="56476"/>
                    <a:pt x="30882" y="78248"/>
                  </a:cubicBezTo>
                  <a:lnTo>
                    <a:pt x="20203" y="12883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2ED07D2F-98A6-4C4F-BB21-C403DF143095}"/>
                </a:ext>
              </a:extLst>
            </p:cNvPr>
            <p:cNvSpPr/>
            <p:nvPr/>
          </p:nvSpPr>
          <p:spPr>
            <a:xfrm>
              <a:off x="5691435" y="4298017"/>
              <a:ext cx="57803" cy="174084"/>
            </a:xfrm>
            <a:custGeom>
              <a:avLst/>
              <a:gdLst>
                <a:gd name="connsiteX0" fmla="*/ -216 w 57803"/>
                <a:gd name="connsiteY0" fmla="*/ 173957 h 174084"/>
                <a:gd name="connsiteX1" fmla="*/ 26136 w 57803"/>
                <a:gd name="connsiteY1" fmla="*/ 47849 h 174084"/>
                <a:gd name="connsiteX2" fmla="*/ 47616 w 57803"/>
                <a:gd name="connsiteY2" fmla="*/ 47849 h 174084"/>
                <a:gd name="connsiteX3" fmla="*/ 21269 w 57803"/>
                <a:gd name="connsiteY3" fmla="*/ 173957 h 174084"/>
                <a:gd name="connsiteX4" fmla="*/ 31119 w 57803"/>
                <a:gd name="connsiteY4" fmla="*/ 24220 h 174084"/>
                <a:gd name="connsiteX5" fmla="*/ 36224 w 57803"/>
                <a:gd name="connsiteY5" fmla="*/ -128 h 174084"/>
                <a:gd name="connsiteX6" fmla="*/ 57588 w 57803"/>
                <a:gd name="connsiteY6" fmla="*/ -128 h 174084"/>
                <a:gd name="connsiteX7" fmla="*/ 52483 w 57803"/>
                <a:gd name="connsiteY7" fmla="*/ 24220 h 174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7803" h="174084">
                  <a:moveTo>
                    <a:pt x="-216" y="173957"/>
                  </a:moveTo>
                  <a:lnTo>
                    <a:pt x="26136" y="47849"/>
                  </a:lnTo>
                  <a:lnTo>
                    <a:pt x="47616" y="47849"/>
                  </a:lnTo>
                  <a:lnTo>
                    <a:pt x="21269" y="173957"/>
                  </a:lnTo>
                  <a:close/>
                  <a:moveTo>
                    <a:pt x="31119" y="24220"/>
                  </a:moveTo>
                  <a:lnTo>
                    <a:pt x="36224" y="-128"/>
                  </a:lnTo>
                  <a:lnTo>
                    <a:pt x="57588" y="-128"/>
                  </a:lnTo>
                  <a:lnTo>
                    <a:pt x="52483" y="24220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3EEDA1CD-72A8-43D4-ABB0-B0EA365832AF}"/>
                </a:ext>
              </a:extLst>
            </p:cNvPr>
            <p:cNvSpPr/>
            <p:nvPr/>
          </p:nvSpPr>
          <p:spPr>
            <a:xfrm>
              <a:off x="5749560" y="4343117"/>
              <a:ext cx="116762" cy="131848"/>
            </a:xfrm>
            <a:custGeom>
              <a:avLst/>
              <a:gdLst>
                <a:gd name="connsiteX0" fmla="*/ 87862 w 116762"/>
                <a:gd name="connsiteY0" fmla="*/ 85988 h 131848"/>
                <a:gd name="connsiteX1" fmla="*/ 108750 w 116762"/>
                <a:gd name="connsiteY1" fmla="*/ 88127 h 131848"/>
                <a:gd name="connsiteX2" fmla="*/ 88038 w 116762"/>
                <a:gd name="connsiteY2" fmla="*/ 117697 h 131848"/>
                <a:gd name="connsiteX3" fmla="*/ 49405 w 116762"/>
                <a:gd name="connsiteY3" fmla="*/ 131709 h 131848"/>
                <a:gd name="connsiteX4" fmla="*/ 23710 w 116762"/>
                <a:gd name="connsiteY4" fmla="*/ 125237 h 131848"/>
                <a:gd name="connsiteX5" fmla="*/ 5905 w 116762"/>
                <a:gd name="connsiteY5" fmla="*/ 106444 h 131848"/>
                <a:gd name="connsiteX6" fmla="*/ -205 w 116762"/>
                <a:gd name="connsiteY6" fmla="*/ 78300 h 131848"/>
                <a:gd name="connsiteX7" fmla="*/ 9347 w 116762"/>
                <a:gd name="connsiteY7" fmla="*/ 38222 h 131848"/>
                <a:gd name="connsiteX8" fmla="*/ 34096 w 116762"/>
                <a:gd name="connsiteY8" fmla="*/ 9364 h 131848"/>
                <a:gd name="connsiteX9" fmla="*/ 66973 w 116762"/>
                <a:gd name="connsiteY9" fmla="*/ -76 h 131848"/>
                <a:gd name="connsiteX10" fmla="*/ 102993 w 116762"/>
                <a:gd name="connsiteY10" fmla="*/ 13935 h 131848"/>
                <a:gd name="connsiteX11" fmla="*/ 116468 w 116762"/>
                <a:gd name="connsiteY11" fmla="*/ 52173 h 131848"/>
                <a:gd name="connsiteX12" fmla="*/ 114811 w 116762"/>
                <a:gd name="connsiteY12" fmla="*/ 71175 h 131848"/>
                <a:gd name="connsiteX13" fmla="*/ 21998 w 116762"/>
                <a:gd name="connsiteY13" fmla="*/ 71175 h 131848"/>
                <a:gd name="connsiteX14" fmla="*/ 21523 w 116762"/>
                <a:gd name="connsiteY14" fmla="*/ 77808 h 131848"/>
                <a:gd name="connsiteX15" fmla="*/ 29655 w 116762"/>
                <a:gd name="connsiteY15" fmla="*/ 104825 h 131848"/>
                <a:gd name="connsiteX16" fmla="*/ 49543 w 116762"/>
                <a:gd name="connsiteY16" fmla="*/ 114143 h 131848"/>
                <a:gd name="connsiteX17" fmla="*/ 71266 w 116762"/>
                <a:gd name="connsiteY17" fmla="*/ 106903 h 131848"/>
                <a:gd name="connsiteX18" fmla="*/ 87862 w 116762"/>
                <a:gd name="connsiteY18" fmla="*/ 85988 h 131848"/>
                <a:gd name="connsiteX19" fmla="*/ 25434 w 116762"/>
                <a:gd name="connsiteY19" fmla="*/ 54759 h 131848"/>
                <a:gd name="connsiteX20" fmla="*/ 96176 w 116762"/>
                <a:gd name="connsiteY20" fmla="*/ 54759 h 131848"/>
                <a:gd name="connsiteX21" fmla="*/ 96292 w 116762"/>
                <a:gd name="connsiteY21" fmla="*/ 50011 h 131848"/>
                <a:gd name="connsiteX22" fmla="*/ 88221 w 116762"/>
                <a:gd name="connsiteY22" fmla="*/ 25249 h 131848"/>
                <a:gd name="connsiteX23" fmla="*/ 67454 w 116762"/>
                <a:gd name="connsiteY23" fmla="*/ 16643 h 131848"/>
                <a:gd name="connsiteX24" fmla="*/ 42350 w 116762"/>
                <a:gd name="connsiteY24" fmla="*/ 26139 h 131848"/>
                <a:gd name="connsiteX25" fmla="*/ 25428 w 116762"/>
                <a:gd name="connsiteY25" fmla="*/ 5475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6762" h="131848">
                  <a:moveTo>
                    <a:pt x="87862" y="85988"/>
                  </a:moveTo>
                  <a:lnTo>
                    <a:pt x="108750" y="88127"/>
                  </a:lnTo>
                  <a:cubicBezTo>
                    <a:pt x="104866" y="99789"/>
                    <a:pt x="97668" y="110064"/>
                    <a:pt x="88038" y="117697"/>
                  </a:cubicBezTo>
                  <a:cubicBezTo>
                    <a:pt x="77343" y="127000"/>
                    <a:pt x="63576" y="131996"/>
                    <a:pt x="49405" y="131709"/>
                  </a:cubicBezTo>
                  <a:cubicBezTo>
                    <a:pt x="40428" y="131797"/>
                    <a:pt x="31577" y="129570"/>
                    <a:pt x="23710" y="125237"/>
                  </a:cubicBezTo>
                  <a:cubicBezTo>
                    <a:pt x="15959" y="120981"/>
                    <a:pt x="9739" y="114414"/>
                    <a:pt x="5905" y="106444"/>
                  </a:cubicBezTo>
                  <a:cubicBezTo>
                    <a:pt x="1706" y="97667"/>
                    <a:pt x="-382" y="88028"/>
                    <a:pt x="-205" y="78300"/>
                  </a:cubicBezTo>
                  <a:cubicBezTo>
                    <a:pt x="-172" y="64382"/>
                    <a:pt x="3098" y="50658"/>
                    <a:pt x="9347" y="38222"/>
                  </a:cubicBezTo>
                  <a:cubicBezTo>
                    <a:pt x="14700" y="26449"/>
                    <a:pt x="23279" y="16444"/>
                    <a:pt x="34096" y="9364"/>
                  </a:cubicBezTo>
                  <a:cubicBezTo>
                    <a:pt x="43936" y="3152"/>
                    <a:pt x="55338" y="-120"/>
                    <a:pt x="66973" y="-76"/>
                  </a:cubicBezTo>
                  <a:cubicBezTo>
                    <a:pt x="80420" y="-701"/>
                    <a:pt x="93502" y="4390"/>
                    <a:pt x="102993" y="13935"/>
                  </a:cubicBezTo>
                  <a:cubicBezTo>
                    <a:pt x="112385" y="24382"/>
                    <a:pt x="117236" y="38139"/>
                    <a:pt x="116468" y="52173"/>
                  </a:cubicBezTo>
                  <a:cubicBezTo>
                    <a:pt x="116451" y="58540"/>
                    <a:pt x="115899" y="64896"/>
                    <a:pt x="114811" y="71175"/>
                  </a:cubicBezTo>
                  <a:lnTo>
                    <a:pt x="21998" y="71175"/>
                  </a:lnTo>
                  <a:cubicBezTo>
                    <a:pt x="21699" y="73375"/>
                    <a:pt x="21539" y="75591"/>
                    <a:pt x="21523" y="77808"/>
                  </a:cubicBezTo>
                  <a:cubicBezTo>
                    <a:pt x="20854" y="87502"/>
                    <a:pt x="23743" y="97109"/>
                    <a:pt x="29655" y="104825"/>
                  </a:cubicBezTo>
                  <a:cubicBezTo>
                    <a:pt x="34533" y="110783"/>
                    <a:pt x="41848" y="114210"/>
                    <a:pt x="49543" y="114143"/>
                  </a:cubicBezTo>
                  <a:cubicBezTo>
                    <a:pt x="57349" y="114000"/>
                    <a:pt x="64929" y="111474"/>
                    <a:pt x="71266" y="106903"/>
                  </a:cubicBezTo>
                  <a:cubicBezTo>
                    <a:pt x="78696" y="101680"/>
                    <a:pt x="84464" y="94417"/>
                    <a:pt x="87862" y="85988"/>
                  </a:cubicBezTo>
                  <a:close/>
                  <a:moveTo>
                    <a:pt x="25434" y="54759"/>
                  </a:moveTo>
                  <a:lnTo>
                    <a:pt x="96176" y="54759"/>
                  </a:lnTo>
                  <a:cubicBezTo>
                    <a:pt x="96253" y="52548"/>
                    <a:pt x="96292" y="50962"/>
                    <a:pt x="96292" y="50011"/>
                  </a:cubicBezTo>
                  <a:cubicBezTo>
                    <a:pt x="96900" y="41024"/>
                    <a:pt x="94005" y="32153"/>
                    <a:pt x="88221" y="25249"/>
                  </a:cubicBezTo>
                  <a:cubicBezTo>
                    <a:pt x="82862" y="19518"/>
                    <a:pt x="75293" y="16384"/>
                    <a:pt x="67454" y="16643"/>
                  </a:cubicBezTo>
                  <a:cubicBezTo>
                    <a:pt x="58211" y="16666"/>
                    <a:pt x="49295" y="20037"/>
                    <a:pt x="42350" y="26139"/>
                  </a:cubicBezTo>
                  <a:cubicBezTo>
                    <a:pt x="33992" y="33783"/>
                    <a:pt x="28102" y="43749"/>
                    <a:pt x="25428" y="54759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6D96F9F2-1E5C-4E5C-A7E9-9C9A127303EB}"/>
                </a:ext>
              </a:extLst>
            </p:cNvPr>
            <p:cNvSpPr/>
            <p:nvPr/>
          </p:nvSpPr>
          <p:spPr>
            <a:xfrm>
              <a:off x="5881006" y="4343050"/>
              <a:ext cx="111839" cy="131960"/>
            </a:xfrm>
            <a:custGeom>
              <a:avLst/>
              <a:gdLst>
                <a:gd name="connsiteX0" fmla="*/ -173 w 111839"/>
                <a:gd name="connsiteY0" fmla="*/ 85823 h 131960"/>
                <a:gd name="connsiteX1" fmla="*/ 21313 w 111839"/>
                <a:gd name="connsiteY1" fmla="*/ 84513 h 131960"/>
                <a:gd name="connsiteX2" fmla="*/ 24158 w 111839"/>
                <a:gd name="connsiteY2" fmla="*/ 100309 h 131960"/>
                <a:gd name="connsiteX3" fmla="*/ 34654 w 111839"/>
                <a:gd name="connsiteY3" fmla="*/ 110994 h 131960"/>
                <a:gd name="connsiteX4" fmla="*/ 52515 w 111839"/>
                <a:gd name="connsiteY4" fmla="*/ 115150 h 131960"/>
                <a:gd name="connsiteX5" fmla="*/ 73879 w 111839"/>
                <a:gd name="connsiteY5" fmla="*/ 109451 h 131960"/>
                <a:gd name="connsiteX6" fmla="*/ 81000 w 111839"/>
                <a:gd name="connsiteY6" fmla="*/ 96031 h 131960"/>
                <a:gd name="connsiteX7" fmla="*/ 76730 w 111839"/>
                <a:gd name="connsiteY7" fmla="*/ 85464 h 131960"/>
                <a:gd name="connsiteX8" fmla="*/ 55305 w 111839"/>
                <a:gd name="connsiteY8" fmla="*/ 73171 h 131960"/>
                <a:gd name="connsiteX9" fmla="*/ 33522 w 111839"/>
                <a:gd name="connsiteY9" fmla="*/ 62901 h 131960"/>
                <a:gd name="connsiteX10" fmla="*/ 21534 w 111839"/>
                <a:gd name="connsiteY10" fmla="*/ 51443 h 131960"/>
                <a:gd name="connsiteX11" fmla="*/ 17501 w 111839"/>
                <a:gd name="connsiteY11" fmla="*/ 36299 h 131960"/>
                <a:gd name="connsiteX12" fmla="*/ 29367 w 111839"/>
                <a:gd name="connsiteY12" fmla="*/ 10653 h 131960"/>
                <a:gd name="connsiteX13" fmla="*/ 62603 w 111839"/>
                <a:gd name="connsiteY13" fmla="*/ -37 h 131960"/>
                <a:gd name="connsiteX14" fmla="*/ 98745 w 111839"/>
                <a:gd name="connsiteY14" fmla="*/ 10951 h 131960"/>
                <a:gd name="connsiteX15" fmla="*/ 111623 w 111839"/>
                <a:gd name="connsiteY15" fmla="*/ 39864 h 131960"/>
                <a:gd name="connsiteX16" fmla="*/ 90629 w 111839"/>
                <a:gd name="connsiteY16" fmla="*/ 41290 h 131960"/>
                <a:gd name="connsiteX17" fmla="*/ 82558 w 111839"/>
                <a:gd name="connsiteY17" fmla="*/ 23238 h 131960"/>
                <a:gd name="connsiteX18" fmla="*/ 61078 w 111839"/>
                <a:gd name="connsiteY18" fmla="*/ 16606 h 131960"/>
                <a:gd name="connsiteX19" fmla="*/ 43748 w 111839"/>
                <a:gd name="connsiteY19" fmla="*/ 21713 h 131960"/>
                <a:gd name="connsiteX20" fmla="*/ 37577 w 111839"/>
                <a:gd name="connsiteY20" fmla="*/ 32767 h 131960"/>
                <a:gd name="connsiteX21" fmla="*/ 42919 w 111839"/>
                <a:gd name="connsiteY21" fmla="*/ 43219 h 131960"/>
                <a:gd name="connsiteX22" fmla="*/ 61316 w 111839"/>
                <a:gd name="connsiteY22" fmla="*/ 52715 h 131960"/>
                <a:gd name="connsiteX23" fmla="*/ 92414 w 111839"/>
                <a:gd name="connsiteY23" fmla="*/ 69578 h 131960"/>
                <a:gd name="connsiteX24" fmla="*/ 102618 w 111839"/>
                <a:gd name="connsiteY24" fmla="*/ 93566 h 131960"/>
                <a:gd name="connsiteX25" fmla="*/ 96861 w 111839"/>
                <a:gd name="connsiteY25" fmla="*/ 111972 h 131960"/>
                <a:gd name="connsiteX26" fmla="*/ 79298 w 111839"/>
                <a:gd name="connsiteY26" fmla="*/ 126398 h 131960"/>
                <a:gd name="connsiteX27" fmla="*/ 51466 w 111839"/>
                <a:gd name="connsiteY27" fmla="*/ 131803 h 131960"/>
                <a:gd name="connsiteX28" fmla="*/ 14313 w 111839"/>
                <a:gd name="connsiteY28" fmla="*/ 120998 h 131960"/>
                <a:gd name="connsiteX29" fmla="*/ -173 w 111839"/>
                <a:gd name="connsiteY29" fmla="*/ 85823 h 131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11839" h="131960">
                  <a:moveTo>
                    <a:pt x="-173" y="85823"/>
                  </a:moveTo>
                  <a:lnTo>
                    <a:pt x="21313" y="84513"/>
                  </a:lnTo>
                  <a:cubicBezTo>
                    <a:pt x="21169" y="89918"/>
                    <a:pt x="22136" y="95296"/>
                    <a:pt x="24158" y="100309"/>
                  </a:cubicBezTo>
                  <a:cubicBezTo>
                    <a:pt x="26340" y="104958"/>
                    <a:pt x="30041" y="108727"/>
                    <a:pt x="34654" y="110994"/>
                  </a:cubicBezTo>
                  <a:cubicBezTo>
                    <a:pt x="40163" y="113862"/>
                    <a:pt x="46306" y="115294"/>
                    <a:pt x="52515" y="115150"/>
                  </a:cubicBezTo>
                  <a:cubicBezTo>
                    <a:pt x="60073" y="115703"/>
                    <a:pt x="67598" y="113696"/>
                    <a:pt x="73879" y="109451"/>
                  </a:cubicBezTo>
                  <a:cubicBezTo>
                    <a:pt x="78254" y="106367"/>
                    <a:pt x="80895" y="101382"/>
                    <a:pt x="81000" y="96031"/>
                  </a:cubicBezTo>
                  <a:cubicBezTo>
                    <a:pt x="80917" y="92102"/>
                    <a:pt x="79398" y="88343"/>
                    <a:pt x="76730" y="85464"/>
                  </a:cubicBezTo>
                  <a:cubicBezTo>
                    <a:pt x="70404" y="80085"/>
                    <a:pt x="63139" y="75918"/>
                    <a:pt x="55305" y="73171"/>
                  </a:cubicBezTo>
                  <a:cubicBezTo>
                    <a:pt x="47847" y="70181"/>
                    <a:pt x="40571" y="66754"/>
                    <a:pt x="33522" y="62901"/>
                  </a:cubicBezTo>
                  <a:cubicBezTo>
                    <a:pt x="28671" y="60094"/>
                    <a:pt x="24561" y="56164"/>
                    <a:pt x="21534" y="51443"/>
                  </a:cubicBezTo>
                  <a:cubicBezTo>
                    <a:pt x="18793" y="46873"/>
                    <a:pt x="17396" y="41627"/>
                    <a:pt x="17501" y="36299"/>
                  </a:cubicBezTo>
                  <a:cubicBezTo>
                    <a:pt x="17456" y="26411"/>
                    <a:pt x="21804" y="17020"/>
                    <a:pt x="29367" y="10653"/>
                  </a:cubicBezTo>
                  <a:cubicBezTo>
                    <a:pt x="38710" y="3036"/>
                    <a:pt x="50576" y="-778"/>
                    <a:pt x="62603" y="-37"/>
                  </a:cubicBezTo>
                  <a:cubicBezTo>
                    <a:pt x="78442" y="-37"/>
                    <a:pt x="90486" y="3628"/>
                    <a:pt x="98745" y="10951"/>
                  </a:cubicBezTo>
                  <a:cubicBezTo>
                    <a:pt x="107015" y="18269"/>
                    <a:pt x="111711" y="28815"/>
                    <a:pt x="111623" y="39864"/>
                  </a:cubicBezTo>
                  <a:lnTo>
                    <a:pt x="90629" y="41290"/>
                  </a:lnTo>
                  <a:cubicBezTo>
                    <a:pt x="90635" y="34398"/>
                    <a:pt x="87696" y="27831"/>
                    <a:pt x="82558" y="23238"/>
                  </a:cubicBezTo>
                  <a:cubicBezTo>
                    <a:pt x="76453" y="18468"/>
                    <a:pt x="68807" y="16108"/>
                    <a:pt x="61078" y="16606"/>
                  </a:cubicBezTo>
                  <a:cubicBezTo>
                    <a:pt x="54880" y="16224"/>
                    <a:pt x="48748" y="18032"/>
                    <a:pt x="43748" y="21713"/>
                  </a:cubicBezTo>
                  <a:cubicBezTo>
                    <a:pt x="40096" y="24250"/>
                    <a:pt x="37820" y="28329"/>
                    <a:pt x="37577" y="32767"/>
                  </a:cubicBezTo>
                  <a:cubicBezTo>
                    <a:pt x="37654" y="36890"/>
                    <a:pt x="39627" y="40743"/>
                    <a:pt x="42919" y="43219"/>
                  </a:cubicBezTo>
                  <a:cubicBezTo>
                    <a:pt x="48659" y="47088"/>
                    <a:pt x="54836" y="50277"/>
                    <a:pt x="61316" y="52715"/>
                  </a:cubicBezTo>
                  <a:cubicBezTo>
                    <a:pt x="72437" y="56822"/>
                    <a:pt x="82906" y="62498"/>
                    <a:pt x="92414" y="69578"/>
                  </a:cubicBezTo>
                  <a:cubicBezTo>
                    <a:pt x="99054" y="75769"/>
                    <a:pt x="102761" y="84485"/>
                    <a:pt x="102618" y="93566"/>
                  </a:cubicBezTo>
                  <a:cubicBezTo>
                    <a:pt x="102524" y="100133"/>
                    <a:pt x="100524" y="106528"/>
                    <a:pt x="96861" y="111972"/>
                  </a:cubicBezTo>
                  <a:cubicBezTo>
                    <a:pt x="92541" y="118395"/>
                    <a:pt x="86436" y="123408"/>
                    <a:pt x="79298" y="126398"/>
                  </a:cubicBezTo>
                  <a:cubicBezTo>
                    <a:pt x="70520" y="130184"/>
                    <a:pt x="61023" y="132030"/>
                    <a:pt x="51466" y="131803"/>
                  </a:cubicBezTo>
                  <a:cubicBezTo>
                    <a:pt x="38251" y="132207"/>
                    <a:pt x="25252" y="128427"/>
                    <a:pt x="14313" y="120998"/>
                  </a:cubicBezTo>
                  <a:cubicBezTo>
                    <a:pt x="4098" y="113774"/>
                    <a:pt x="-730" y="102051"/>
                    <a:pt x="-173" y="85823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A205CFA3-9518-499D-B45B-AD9D484F1E06}"/>
                </a:ext>
              </a:extLst>
            </p:cNvPr>
            <p:cNvSpPr/>
            <p:nvPr/>
          </p:nvSpPr>
          <p:spPr>
            <a:xfrm>
              <a:off x="6071217" y="4300156"/>
              <a:ext cx="64482" cy="174129"/>
            </a:xfrm>
            <a:custGeom>
              <a:avLst/>
              <a:gdLst>
                <a:gd name="connsiteX0" fmla="*/ 44450 w 64482"/>
                <a:gd name="connsiteY0" fmla="*/ 154364 h 174129"/>
                <a:gd name="connsiteX1" fmla="*/ 40892 w 64482"/>
                <a:gd name="connsiteY1" fmla="*/ 171940 h 174129"/>
                <a:gd name="connsiteX2" fmla="*/ 25937 w 64482"/>
                <a:gd name="connsiteY2" fmla="*/ 173957 h 174129"/>
                <a:gd name="connsiteX3" fmla="*/ 5496 w 64482"/>
                <a:gd name="connsiteY3" fmla="*/ 167662 h 174129"/>
                <a:gd name="connsiteX4" fmla="*/ -200 w 64482"/>
                <a:gd name="connsiteY4" fmla="*/ 154723 h 174129"/>
                <a:gd name="connsiteX5" fmla="*/ 2888 w 64482"/>
                <a:gd name="connsiteY5" fmla="*/ 135604 h 174129"/>
                <a:gd name="connsiteX6" fmla="*/ 18213 w 64482"/>
                <a:gd name="connsiteY6" fmla="*/ 62336 h 174129"/>
                <a:gd name="connsiteX7" fmla="*/ 1242 w 64482"/>
                <a:gd name="connsiteY7" fmla="*/ 62336 h 174129"/>
                <a:gd name="connsiteX8" fmla="*/ 4684 w 64482"/>
                <a:gd name="connsiteY8" fmla="*/ 45710 h 174129"/>
                <a:gd name="connsiteX9" fmla="*/ 21655 w 64482"/>
                <a:gd name="connsiteY9" fmla="*/ 45710 h 174129"/>
                <a:gd name="connsiteX10" fmla="*/ 28185 w 64482"/>
                <a:gd name="connsiteY10" fmla="*/ 14719 h 174129"/>
                <a:gd name="connsiteX11" fmla="*/ 52753 w 64482"/>
                <a:gd name="connsiteY11" fmla="*/ -128 h 174129"/>
                <a:gd name="connsiteX12" fmla="*/ 43140 w 64482"/>
                <a:gd name="connsiteY12" fmla="*/ 45710 h 174129"/>
                <a:gd name="connsiteX13" fmla="*/ 64266 w 64482"/>
                <a:gd name="connsiteY13" fmla="*/ 45710 h 174129"/>
                <a:gd name="connsiteX14" fmla="*/ 60708 w 64482"/>
                <a:gd name="connsiteY14" fmla="*/ 62336 h 174129"/>
                <a:gd name="connsiteX15" fmla="*/ 39715 w 64482"/>
                <a:gd name="connsiteY15" fmla="*/ 62336 h 174129"/>
                <a:gd name="connsiteX16" fmla="*/ 25114 w 64482"/>
                <a:gd name="connsiteY16" fmla="*/ 132039 h 174129"/>
                <a:gd name="connsiteX17" fmla="*/ 22384 w 64482"/>
                <a:gd name="connsiteY17" fmla="*/ 147952 h 174129"/>
                <a:gd name="connsiteX18" fmla="*/ 24594 w 64482"/>
                <a:gd name="connsiteY18" fmla="*/ 153772 h 174129"/>
                <a:gd name="connsiteX19" fmla="*/ 31776 w 64482"/>
                <a:gd name="connsiteY19" fmla="*/ 155790 h 174129"/>
                <a:gd name="connsiteX20" fmla="*/ 44450 w 64482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82" h="174129">
                  <a:moveTo>
                    <a:pt x="44450" y="154364"/>
                  </a:moveTo>
                  <a:lnTo>
                    <a:pt x="40892" y="171940"/>
                  </a:lnTo>
                  <a:cubicBezTo>
                    <a:pt x="36013" y="173250"/>
                    <a:pt x="30986" y="173924"/>
                    <a:pt x="25937" y="173957"/>
                  </a:cubicBezTo>
                  <a:cubicBezTo>
                    <a:pt x="18595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5" y="141889"/>
                    <a:pt x="2888" y="135604"/>
                  </a:cubicBezTo>
                  <a:lnTo>
                    <a:pt x="18213" y="62336"/>
                  </a:lnTo>
                  <a:lnTo>
                    <a:pt x="1242" y="62336"/>
                  </a:lnTo>
                  <a:lnTo>
                    <a:pt x="4684" y="45710"/>
                  </a:lnTo>
                  <a:lnTo>
                    <a:pt x="21655" y="45710"/>
                  </a:lnTo>
                  <a:lnTo>
                    <a:pt x="28185" y="14719"/>
                  </a:lnTo>
                  <a:lnTo>
                    <a:pt x="52753" y="-128"/>
                  </a:lnTo>
                  <a:lnTo>
                    <a:pt x="43140" y="45710"/>
                  </a:lnTo>
                  <a:lnTo>
                    <a:pt x="64266" y="45710"/>
                  </a:lnTo>
                  <a:lnTo>
                    <a:pt x="60708" y="62336"/>
                  </a:lnTo>
                  <a:lnTo>
                    <a:pt x="39715" y="62336"/>
                  </a:lnTo>
                  <a:lnTo>
                    <a:pt x="25114" y="132039"/>
                  </a:lnTo>
                  <a:cubicBezTo>
                    <a:pt x="23876" y="137284"/>
                    <a:pt x="22964" y="142596"/>
                    <a:pt x="22384" y="147952"/>
                  </a:cubicBezTo>
                  <a:cubicBezTo>
                    <a:pt x="22241" y="150119"/>
                    <a:pt x="23047" y="152246"/>
                    <a:pt x="24594" y="153772"/>
                  </a:cubicBezTo>
                  <a:cubicBezTo>
                    <a:pt x="26655" y="155309"/>
                    <a:pt x="29213" y="156027"/>
                    <a:pt x="31776" y="155790"/>
                  </a:cubicBezTo>
                  <a:cubicBezTo>
                    <a:pt x="36041" y="155839"/>
                    <a:pt x="40301" y="155364"/>
                    <a:pt x="44450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AFF49087-4993-4FFC-8E5F-8156749F9E4E}"/>
                </a:ext>
              </a:extLst>
            </p:cNvPr>
            <p:cNvSpPr/>
            <p:nvPr/>
          </p:nvSpPr>
          <p:spPr>
            <a:xfrm>
              <a:off x="6131997" y="4297995"/>
              <a:ext cx="120471" cy="174134"/>
            </a:xfrm>
            <a:custGeom>
              <a:avLst/>
              <a:gdLst>
                <a:gd name="connsiteX0" fmla="*/ -216 w 120471"/>
                <a:gd name="connsiteY0" fmla="*/ 173979 h 174134"/>
                <a:gd name="connsiteX1" fmla="*/ 36097 w 120471"/>
                <a:gd name="connsiteY1" fmla="*/ -128 h 174134"/>
                <a:gd name="connsiteX2" fmla="*/ 57582 w 120471"/>
                <a:gd name="connsiteY2" fmla="*/ -128 h 174134"/>
                <a:gd name="connsiteX3" fmla="*/ 43693 w 120471"/>
                <a:gd name="connsiteY3" fmla="*/ 66752 h 174134"/>
                <a:gd name="connsiteX4" fmla="*/ 66007 w 120471"/>
                <a:gd name="connsiteY4" fmla="*/ 50065 h 174134"/>
                <a:gd name="connsiteX5" fmla="*/ 87255 w 120471"/>
                <a:gd name="connsiteY5" fmla="*/ 45019 h 174134"/>
                <a:gd name="connsiteX6" fmla="*/ 111563 w 120471"/>
                <a:gd name="connsiteY6" fmla="*/ 53271 h 174134"/>
                <a:gd name="connsiteX7" fmla="*/ 120231 w 120471"/>
                <a:gd name="connsiteY7" fmla="*/ 75065 h 174134"/>
                <a:gd name="connsiteX8" fmla="*/ 116430 w 120471"/>
                <a:gd name="connsiteY8" fmla="*/ 99528 h 174134"/>
                <a:gd name="connsiteX9" fmla="*/ 100884 w 120471"/>
                <a:gd name="connsiteY9" fmla="*/ 173979 h 174134"/>
                <a:gd name="connsiteX10" fmla="*/ 79399 w 120471"/>
                <a:gd name="connsiteY10" fmla="*/ 173979 h 174134"/>
                <a:gd name="connsiteX11" fmla="*/ 95420 w 120471"/>
                <a:gd name="connsiteY11" fmla="*/ 97627 h 174134"/>
                <a:gd name="connsiteX12" fmla="*/ 98862 w 120471"/>
                <a:gd name="connsiteY12" fmla="*/ 76728 h 174134"/>
                <a:gd name="connsiteX13" fmla="*/ 94586 w 120471"/>
                <a:gd name="connsiteY13" fmla="*/ 66630 h 174134"/>
                <a:gd name="connsiteX14" fmla="*/ 82244 w 120471"/>
                <a:gd name="connsiteY14" fmla="*/ 62711 h 174134"/>
                <a:gd name="connsiteX15" fmla="*/ 43495 w 120471"/>
                <a:gd name="connsiteY15" fmla="*/ 85572 h 174134"/>
                <a:gd name="connsiteX16" fmla="*/ 32512 w 120471"/>
                <a:gd name="connsiteY16" fmla="*/ 119841 h 174134"/>
                <a:gd name="connsiteX17" fmla="*/ 21236 w 120471"/>
                <a:gd name="connsiteY17" fmla="*/ 174007 h 174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0471" h="174134">
                  <a:moveTo>
                    <a:pt x="-216" y="173979"/>
                  </a:moveTo>
                  <a:lnTo>
                    <a:pt x="36097" y="-128"/>
                  </a:lnTo>
                  <a:lnTo>
                    <a:pt x="57582" y="-128"/>
                  </a:lnTo>
                  <a:lnTo>
                    <a:pt x="43693" y="66752"/>
                  </a:lnTo>
                  <a:cubicBezTo>
                    <a:pt x="50229" y="60075"/>
                    <a:pt x="57754" y="54448"/>
                    <a:pt x="66007" y="50065"/>
                  </a:cubicBezTo>
                  <a:cubicBezTo>
                    <a:pt x="72609" y="46771"/>
                    <a:pt x="79879" y="45046"/>
                    <a:pt x="87255" y="45019"/>
                  </a:cubicBezTo>
                  <a:cubicBezTo>
                    <a:pt x="96127" y="44472"/>
                    <a:pt x="104856" y="47434"/>
                    <a:pt x="111563" y="53271"/>
                  </a:cubicBezTo>
                  <a:cubicBezTo>
                    <a:pt x="117419" y="58969"/>
                    <a:pt x="120573" y="66896"/>
                    <a:pt x="120231" y="75065"/>
                  </a:cubicBezTo>
                  <a:cubicBezTo>
                    <a:pt x="119678" y="83317"/>
                    <a:pt x="118408" y="91502"/>
                    <a:pt x="116430" y="99528"/>
                  </a:cubicBezTo>
                  <a:lnTo>
                    <a:pt x="100884" y="173979"/>
                  </a:lnTo>
                  <a:lnTo>
                    <a:pt x="79399" y="173979"/>
                  </a:lnTo>
                  <a:lnTo>
                    <a:pt x="95420" y="97627"/>
                  </a:lnTo>
                  <a:cubicBezTo>
                    <a:pt x="97072" y="90751"/>
                    <a:pt x="98221" y="83770"/>
                    <a:pt x="98862" y="76728"/>
                  </a:cubicBezTo>
                  <a:cubicBezTo>
                    <a:pt x="98983" y="72898"/>
                    <a:pt x="97420" y="69206"/>
                    <a:pt x="94586" y="66630"/>
                  </a:cubicBezTo>
                  <a:cubicBezTo>
                    <a:pt x="91116" y="63811"/>
                    <a:pt x="86708" y="62407"/>
                    <a:pt x="82244" y="62711"/>
                  </a:cubicBezTo>
                  <a:cubicBezTo>
                    <a:pt x="66178" y="62883"/>
                    <a:pt x="51422" y="71594"/>
                    <a:pt x="43495" y="85572"/>
                  </a:cubicBezTo>
                  <a:cubicBezTo>
                    <a:pt x="38241" y="96422"/>
                    <a:pt x="34539" y="107957"/>
                    <a:pt x="32512" y="119841"/>
                  </a:cubicBezTo>
                  <a:lnTo>
                    <a:pt x="21236" y="174007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F37D8F18-7EDA-40D8-8442-27C2B2F854DA}"/>
                </a:ext>
              </a:extLst>
            </p:cNvPr>
            <p:cNvSpPr/>
            <p:nvPr/>
          </p:nvSpPr>
          <p:spPr>
            <a:xfrm>
              <a:off x="6268545" y="4343080"/>
              <a:ext cx="117273" cy="131913"/>
            </a:xfrm>
            <a:custGeom>
              <a:avLst/>
              <a:gdLst>
                <a:gd name="connsiteX0" fmla="*/ 82197 w 117273"/>
                <a:gd name="connsiteY0" fmla="*/ 113219 h 131913"/>
                <a:gd name="connsiteX1" fmla="*/ 60711 w 117273"/>
                <a:gd name="connsiteY1" fmla="*/ 127292 h 131913"/>
                <a:gd name="connsiteX2" fmla="*/ 38613 w 117273"/>
                <a:gd name="connsiteY2" fmla="*/ 131746 h 131913"/>
                <a:gd name="connsiteX3" fmla="*/ 10482 w 117273"/>
                <a:gd name="connsiteY3" fmla="*/ 121477 h 131913"/>
                <a:gd name="connsiteX4" fmla="*/ -197 w 117273"/>
                <a:gd name="connsiteY4" fmla="*/ 95173 h 131913"/>
                <a:gd name="connsiteX5" fmla="*/ 4610 w 117273"/>
                <a:gd name="connsiteY5" fmla="*/ 76469 h 131913"/>
                <a:gd name="connsiteX6" fmla="*/ 17371 w 117273"/>
                <a:gd name="connsiteY6" fmla="*/ 63408 h 131913"/>
                <a:gd name="connsiteX7" fmla="*/ 36834 w 117273"/>
                <a:gd name="connsiteY7" fmla="*/ 56339 h 131913"/>
                <a:gd name="connsiteX8" fmla="*/ 64314 w 117273"/>
                <a:gd name="connsiteY8" fmla="*/ 54084 h 131913"/>
                <a:gd name="connsiteX9" fmla="*/ 93334 w 117273"/>
                <a:gd name="connsiteY9" fmla="*/ 49811 h 131913"/>
                <a:gd name="connsiteX10" fmla="*/ 95826 w 117273"/>
                <a:gd name="connsiteY10" fmla="*/ 35203 h 131913"/>
                <a:gd name="connsiteX11" fmla="*/ 90362 w 117273"/>
                <a:gd name="connsiteY11" fmla="*/ 23446 h 131913"/>
                <a:gd name="connsiteX12" fmla="*/ 68523 w 117273"/>
                <a:gd name="connsiteY12" fmla="*/ 17510 h 131913"/>
                <a:gd name="connsiteX13" fmla="*/ 46386 w 117273"/>
                <a:gd name="connsiteY13" fmla="*/ 23507 h 131913"/>
                <a:gd name="connsiteX14" fmla="*/ 33868 w 117273"/>
                <a:gd name="connsiteY14" fmla="*/ 40548 h 131913"/>
                <a:gd name="connsiteX15" fmla="*/ 12145 w 117273"/>
                <a:gd name="connsiteY15" fmla="*/ 38646 h 131913"/>
                <a:gd name="connsiteX16" fmla="*/ 33216 w 117273"/>
                <a:gd name="connsiteY16" fmla="*/ 9905 h 131913"/>
                <a:gd name="connsiteX17" fmla="*/ 69595 w 117273"/>
                <a:gd name="connsiteY17" fmla="*/ -44 h 131913"/>
                <a:gd name="connsiteX18" fmla="*/ 106610 w 117273"/>
                <a:gd name="connsiteY18" fmla="*/ 11121 h 131913"/>
                <a:gd name="connsiteX19" fmla="*/ 117051 w 117273"/>
                <a:gd name="connsiteY19" fmla="*/ 32732 h 131913"/>
                <a:gd name="connsiteX20" fmla="*/ 114084 w 117273"/>
                <a:gd name="connsiteY20" fmla="*/ 56123 h 131913"/>
                <a:gd name="connsiteX21" fmla="*/ 107085 w 117273"/>
                <a:gd name="connsiteY21" fmla="*/ 87474 h 131913"/>
                <a:gd name="connsiteX22" fmla="*/ 103770 w 117273"/>
                <a:gd name="connsiteY22" fmla="*/ 111793 h 131913"/>
                <a:gd name="connsiteX23" fmla="*/ 106383 w 117273"/>
                <a:gd name="connsiteY23" fmla="*/ 128889 h 131913"/>
                <a:gd name="connsiteX24" fmla="*/ 84683 w 117273"/>
                <a:gd name="connsiteY24" fmla="*/ 128889 h 131913"/>
                <a:gd name="connsiteX25" fmla="*/ 82197 w 117273"/>
                <a:gd name="connsiteY25" fmla="*/ 113219 h 131913"/>
                <a:gd name="connsiteX26" fmla="*/ 90146 w 117273"/>
                <a:gd name="connsiteY26" fmla="*/ 65011 h 131913"/>
                <a:gd name="connsiteX27" fmla="*/ 80473 w 117273"/>
                <a:gd name="connsiteY27" fmla="*/ 67742 h 131913"/>
                <a:gd name="connsiteX28" fmla="*/ 63203 w 117273"/>
                <a:gd name="connsiteY28" fmla="*/ 69759 h 131913"/>
                <a:gd name="connsiteX29" fmla="*/ 36735 w 117273"/>
                <a:gd name="connsiteY29" fmla="*/ 73976 h 131913"/>
                <a:gd name="connsiteX30" fmla="*/ 25133 w 117273"/>
                <a:gd name="connsiteY30" fmla="*/ 82107 h 131913"/>
                <a:gd name="connsiteX31" fmla="*/ 21216 w 117273"/>
                <a:gd name="connsiteY31" fmla="*/ 94460 h 131913"/>
                <a:gd name="connsiteX32" fmla="*/ 27448 w 117273"/>
                <a:gd name="connsiteY32" fmla="*/ 109301 h 131913"/>
                <a:gd name="connsiteX33" fmla="*/ 45193 w 117273"/>
                <a:gd name="connsiteY33" fmla="*/ 115121 h 131913"/>
                <a:gd name="connsiteX34" fmla="*/ 81274 w 117273"/>
                <a:gd name="connsiteY34" fmla="*/ 93747 h 131913"/>
                <a:gd name="connsiteX35" fmla="*/ 90141 w 117273"/>
                <a:gd name="connsiteY35" fmla="*/ 65011 h 131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273" h="131913">
                  <a:moveTo>
                    <a:pt x="82197" y="113219"/>
                  </a:moveTo>
                  <a:cubicBezTo>
                    <a:pt x="75788" y="118968"/>
                    <a:pt x="68540" y="123710"/>
                    <a:pt x="60711" y="127292"/>
                  </a:cubicBezTo>
                  <a:cubicBezTo>
                    <a:pt x="53728" y="130282"/>
                    <a:pt x="46209" y="131796"/>
                    <a:pt x="38613" y="131746"/>
                  </a:cubicBezTo>
                  <a:cubicBezTo>
                    <a:pt x="28244" y="132216"/>
                    <a:pt x="18112" y="128519"/>
                    <a:pt x="10482" y="121477"/>
                  </a:cubicBezTo>
                  <a:cubicBezTo>
                    <a:pt x="3355" y="114618"/>
                    <a:pt x="-523" y="105061"/>
                    <a:pt x="-197" y="95173"/>
                  </a:cubicBezTo>
                  <a:cubicBezTo>
                    <a:pt x="-324" y="88618"/>
                    <a:pt x="1339" y="82151"/>
                    <a:pt x="4610" y="76469"/>
                  </a:cubicBezTo>
                  <a:cubicBezTo>
                    <a:pt x="7725" y="71135"/>
                    <a:pt x="12112" y="66647"/>
                    <a:pt x="17371" y="63408"/>
                  </a:cubicBezTo>
                  <a:cubicBezTo>
                    <a:pt x="23366" y="59865"/>
                    <a:pt x="29962" y="57466"/>
                    <a:pt x="36834" y="56339"/>
                  </a:cubicBezTo>
                  <a:cubicBezTo>
                    <a:pt x="45939" y="55012"/>
                    <a:pt x="55115" y="54261"/>
                    <a:pt x="64314" y="54084"/>
                  </a:cubicBezTo>
                  <a:cubicBezTo>
                    <a:pt x="74147" y="54122"/>
                    <a:pt x="83931" y="52680"/>
                    <a:pt x="93334" y="49811"/>
                  </a:cubicBezTo>
                  <a:cubicBezTo>
                    <a:pt x="94809" y="45074"/>
                    <a:pt x="95649" y="40161"/>
                    <a:pt x="95826" y="35203"/>
                  </a:cubicBezTo>
                  <a:cubicBezTo>
                    <a:pt x="96019" y="30632"/>
                    <a:pt x="93980" y="26249"/>
                    <a:pt x="90362" y="23446"/>
                  </a:cubicBezTo>
                  <a:cubicBezTo>
                    <a:pt x="83953" y="19069"/>
                    <a:pt x="76263" y="16980"/>
                    <a:pt x="68523" y="17510"/>
                  </a:cubicBezTo>
                  <a:cubicBezTo>
                    <a:pt x="60701" y="17173"/>
                    <a:pt x="52972" y="19268"/>
                    <a:pt x="46386" y="23507"/>
                  </a:cubicBezTo>
                  <a:cubicBezTo>
                    <a:pt x="40503" y="27702"/>
                    <a:pt x="36111" y="33677"/>
                    <a:pt x="33868" y="40548"/>
                  </a:cubicBezTo>
                  <a:lnTo>
                    <a:pt x="12145" y="38646"/>
                  </a:lnTo>
                  <a:cubicBezTo>
                    <a:pt x="15896" y="27050"/>
                    <a:pt x="23288" y="16969"/>
                    <a:pt x="33216" y="9905"/>
                  </a:cubicBezTo>
                  <a:cubicBezTo>
                    <a:pt x="44027" y="2918"/>
                    <a:pt x="56734" y="-553"/>
                    <a:pt x="69595" y="-44"/>
                  </a:cubicBezTo>
                  <a:cubicBezTo>
                    <a:pt x="82859" y="-763"/>
                    <a:pt x="95953" y="3184"/>
                    <a:pt x="106610" y="11121"/>
                  </a:cubicBezTo>
                  <a:cubicBezTo>
                    <a:pt x="113361" y="16228"/>
                    <a:pt x="117244" y="24270"/>
                    <a:pt x="117051" y="32732"/>
                  </a:cubicBezTo>
                  <a:cubicBezTo>
                    <a:pt x="116913" y="40614"/>
                    <a:pt x="115913" y="48457"/>
                    <a:pt x="114084" y="56123"/>
                  </a:cubicBezTo>
                  <a:lnTo>
                    <a:pt x="107085" y="87474"/>
                  </a:lnTo>
                  <a:cubicBezTo>
                    <a:pt x="105135" y="95444"/>
                    <a:pt x="104019" y="103591"/>
                    <a:pt x="103770" y="111793"/>
                  </a:cubicBezTo>
                  <a:cubicBezTo>
                    <a:pt x="104030" y="117569"/>
                    <a:pt x="104908" y="123301"/>
                    <a:pt x="106383" y="128889"/>
                  </a:cubicBezTo>
                  <a:lnTo>
                    <a:pt x="84683" y="128889"/>
                  </a:lnTo>
                  <a:cubicBezTo>
                    <a:pt x="83329" y="123760"/>
                    <a:pt x="82500" y="118514"/>
                    <a:pt x="82197" y="113219"/>
                  </a:cubicBezTo>
                  <a:close/>
                  <a:moveTo>
                    <a:pt x="90146" y="65011"/>
                  </a:moveTo>
                  <a:cubicBezTo>
                    <a:pt x="87019" y="66233"/>
                    <a:pt x="83777" y="67150"/>
                    <a:pt x="80473" y="67742"/>
                  </a:cubicBezTo>
                  <a:cubicBezTo>
                    <a:pt x="77031" y="68377"/>
                    <a:pt x="71275" y="69052"/>
                    <a:pt x="63203" y="69759"/>
                  </a:cubicBezTo>
                  <a:cubicBezTo>
                    <a:pt x="54259" y="70267"/>
                    <a:pt x="45392" y="71677"/>
                    <a:pt x="36735" y="73976"/>
                  </a:cubicBezTo>
                  <a:cubicBezTo>
                    <a:pt x="32083" y="75347"/>
                    <a:pt x="28012" y="78199"/>
                    <a:pt x="25133" y="82107"/>
                  </a:cubicBezTo>
                  <a:cubicBezTo>
                    <a:pt x="22559" y="85710"/>
                    <a:pt x="21189" y="90033"/>
                    <a:pt x="21216" y="94460"/>
                  </a:cubicBezTo>
                  <a:cubicBezTo>
                    <a:pt x="21045" y="100076"/>
                    <a:pt x="23321" y="105492"/>
                    <a:pt x="27448" y="109301"/>
                  </a:cubicBezTo>
                  <a:cubicBezTo>
                    <a:pt x="32387" y="113462"/>
                    <a:pt x="38751" y="115546"/>
                    <a:pt x="45193" y="115121"/>
                  </a:cubicBezTo>
                  <a:cubicBezTo>
                    <a:pt x="60170" y="114955"/>
                    <a:pt x="73926" y="106808"/>
                    <a:pt x="81274" y="93747"/>
                  </a:cubicBezTo>
                  <a:cubicBezTo>
                    <a:pt x="85799" y="84727"/>
                    <a:pt x="88798" y="75015"/>
                    <a:pt x="90141" y="65011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5CC35AD3-3245-4C99-8FD9-D496C6AD6F58}"/>
                </a:ext>
              </a:extLst>
            </p:cNvPr>
            <p:cNvSpPr/>
            <p:nvPr/>
          </p:nvSpPr>
          <p:spPr>
            <a:xfrm>
              <a:off x="6405508" y="4300156"/>
              <a:ext cx="64465" cy="174128"/>
            </a:xfrm>
            <a:custGeom>
              <a:avLst/>
              <a:gdLst>
                <a:gd name="connsiteX0" fmla="*/ 44427 w 64465"/>
                <a:gd name="connsiteY0" fmla="*/ 154364 h 174128"/>
                <a:gd name="connsiteX1" fmla="*/ 40864 w 64465"/>
                <a:gd name="connsiteY1" fmla="*/ 171940 h 174128"/>
                <a:gd name="connsiteX2" fmla="*/ 25909 w 64465"/>
                <a:gd name="connsiteY2" fmla="*/ 173957 h 174128"/>
                <a:gd name="connsiteX3" fmla="*/ 5496 w 64465"/>
                <a:gd name="connsiteY3" fmla="*/ 167662 h 174128"/>
                <a:gd name="connsiteX4" fmla="*/ -200 w 64465"/>
                <a:gd name="connsiteY4" fmla="*/ 154723 h 174128"/>
                <a:gd name="connsiteX5" fmla="*/ 2883 w 64465"/>
                <a:gd name="connsiteY5" fmla="*/ 135604 h 174128"/>
                <a:gd name="connsiteX6" fmla="*/ 18197 w 64465"/>
                <a:gd name="connsiteY6" fmla="*/ 62336 h 174128"/>
                <a:gd name="connsiteX7" fmla="*/ 1225 w 64465"/>
                <a:gd name="connsiteY7" fmla="*/ 62336 h 174128"/>
                <a:gd name="connsiteX8" fmla="*/ 4667 w 64465"/>
                <a:gd name="connsiteY8" fmla="*/ 45710 h 174128"/>
                <a:gd name="connsiteX9" fmla="*/ 21638 w 64465"/>
                <a:gd name="connsiteY9" fmla="*/ 45710 h 174128"/>
                <a:gd name="connsiteX10" fmla="*/ 28169 w 64465"/>
                <a:gd name="connsiteY10" fmla="*/ 14719 h 174128"/>
                <a:gd name="connsiteX11" fmla="*/ 52736 w 64465"/>
                <a:gd name="connsiteY11" fmla="*/ -128 h 174128"/>
                <a:gd name="connsiteX12" fmla="*/ 43124 w 64465"/>
                <a:gd name="connsiteY12" fmla="*/ 45710 h 174128"/>
                <a:gd name="connsiteX13" fmla="*/ 64250 w 64465"/>
                <a:gd name="connsiteY13" fmla="*/ 45710 h 174128"/>
                <a:gd name="connsiteX14" fmla="*/ 60686 w 64465"/>
                <a:gd name="connsiteY14" fmla="*/ 62336 h 174128"/>
                <a:gd name="connsiteX15" fmla="*/ 39693 w 64465"/>
                <a:gd name="connsiteY15" fmla="*/ 62336 h 174128"/>
                <a:gd name="connsiteX16" fmla="*/ 25091 w 64465"/>
                <a:gd name="connsiteY16" fmla="*/ 132039 h 174128"/>
                <a:gd name="connsiteX17" fmla="*/ 22362 w 64465"/>
                <a:gd name="connsiteY17" fmla="*/ 147952 h 174128"/>
                <a:gd name="connsiteX18" fmla="*/ 24572 w 64465"/>
                <a:gd name="connsiteY18" fmla="*/ 153772 h 174128"/>
                <a:gd name="connsiteX19" fmla="*/ 31754 w 64465"/>
                <a:gd name="connsiteY19" fmla="*/ 155790 h 174128"/>
                <a:gd name="connsiteX20" fmla="*/ 44427 w 64465"/>
                <a:gd name="connsiteY20" fmla="*/ 154364 h 1741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65" h="174128">
                  <a:moveTo>
                    <a:pt x="44427" y="154364"/>
                  </a:moveTo>
                  <a:lnTo>
                    <a:pt x="40864" y="171940"/>
                  </a:lnTo>
                  <a:cubicBezTo>
                    <a:pt x="35986" y="173250"/>
                    <a:pt x="30958" y="173930"/>
                    <a:pt x="25909" y="173957"/>
                  </a:cubicBezTo>
                  <a:cubicBezTo>
                    <a:pt x="18572" y="174344"/>
                    <a:pt x="11341" y="172111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47" y="148283"/>
                    <a:pt x="1380" y="141889"/>
                    <a:pt x="2883" y="135604"/>
                  </a:cubicBezTo>
                  <a:lnTo>
                    <a:pt x="18197" y="62336"/>
                  </a:lnTo>
                  <a:lnTo>
                    <a:pt x="1225" y="62336"/>
                  </a:lnTo>
                  <a:lnTo>
                    <a:pt x="4667" y="45710"/>
                  </a:lnTo>
                  <a:lnTo>
                    <a:pt x="21638" y="45710"/>
                  </a:lnTo>
                  <a:lnTo>
                    <a:pt x="28169" y="14719"/>
                  </a:lnTo>
                  <a:lnTo>
                    <a:pt x="52736" y="-128"/>
                  </a:lnTo>
                  <a:lnTo>
                    <a:pt x="43124" y="45710"/>
                  </a:lnTo>
                  <a:lnTo>
                    <a:pt x="64250" y="45710"/>
                  </a:lnTo>
                  <a:lnTo>
                    <a:pt x="60686" y="62336"/>
                  </a:lnTo>
                  <a:lnTo>
                    <a:pt x="39693" y="62336"/>
                  </a:lnTo>
                  <a:lnTo>
                    <a:pt x="25091" y="132039"/>
                  </a:lnTo>
                  <a:cubicBezTo>
                    <a:pt x="23854" y="137284"/>
                    <a:pt x="22942" y="142596"/>
                    <a:pt x="22362" y="147952"/>
                  </a:cubicBezTo>
                  <a:cubicBezTo>
                    <a:pt x="22224" y="150119"/>
                    <a:pt x="23031" y="152241"/>
                    <a:pt x="24572" y="153772"/>
                  </a:cubicBezTo>
                  <a:cubicBezTo>
                    <a:pt x="26638" y="155309"/>
                    <a:pt x="29196" y="156027"/>
                    <a:pt x="31754" y="155790"/>
                  </a:cubicBezTo>
                  <a:cubicBezTo>
                    <a:pt x="36019" y="155839"/>
                    <a:pt x="40278" y="155364"/>
                    <a:pt x="44427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3C77D250-E616-4B9A-9BC1-EE41D4B35E0D}"/>
                </a:ext>
              </a:extLst>
            </p:cNvPr>
            <p:cNvSpPr/>
            <p:nvPr/>
          </p:nvSpPr>
          <p:spPr>
            <a:xfrm>
              <a:off x="6532468" y="4343043"/>
              <a:ext cx="189574" cy="129080"/>
            </a:xfrm>
            <a:custGeom>
              <a:avLst/>
              <a:gdLst>
                <a:gd name="connsiteX0" fmla="*/ -216 w 189574"/>
                <a:gd name="connsiteY0" fmla="*/ 128931 h 129080"/>
                <a:gd name="connsiteX1" fmla="*/ 26136 w 189574"/>
                <a:gd name="connsiteY1" fmla="*/ 2822 h 129080"/>
                <a:gd name="connsiteX2" fmla="*/ 47621 w 189574"/>
                <a:gd name="connsiteY2" fmla="*/ 2822 h 129080"/>
                <a:gd name="connsiteX3" fmla="*/ 43202 w 189574"/>
                <a:gd name="connsiteY3" fmla="*/ 23604 h 129080"/>
                <a:gd name="connsiteX4" fmla="*/ 64626 w 189574"/>
                <a:gd name="connsiteY4" fmla="*/ 5077 h 129080"/>
                <a:gd name="connsiteX5" fmla="*/ 85100 w 189574"/>
                <a:gd name="connsiteY5" fmla="*/ -30 h 129080"/>
                <a:gd name="connsiteX6" fmla="*/ 104740 w 189574"/>
                <a:gd name="connsiteY6" fmla="*/ 6205 h 129080"/>
                <a:gd name="connsiteX7" fmla="*/ 115126 w 189574"/>
                <a:gd name="connsiteY7" fmla="*/ 23604 h 129080"/>
                <a:gd name="connsiteX8" fmla="*/ 135363 w 189574"/>
                <a:gd name="connsiteY8" fmla="*/ 5851 h 129080"/>
                <a:gd name="connsiteX9" fmla="*/ 157737 w 189574"/>
                <a:gd name="connsiteY9" fmla="*/ -30 h 129080"/>
                <a:gd name="connsiteX10" fmla="*/ 181415 w 189574"/>
                <a:gd name="connsiteY10" fmla="*/ 7454 h 129080"/>
                <a:gd name="connsiteX11" fmla="*/ 189310 w 189574"/>
                <a:gd name="connsiteY11" fmla="*/ 28457 h 129080"/>
                <a:gd name="connsiteX12" fmla="*/ 186581 w 189574"/>
                <a:gd name="connsiteY12" fmla="*/ 47692 h 129080"/>
                <a:gd name="connsiteX13" fmla="*/ 169609 w 189574"/>
                <a:gd name="connsiteY13" fmla="*/ 128942 h 129080"/>
                <a:gd name="connsiteX14" fmla="*/ 148124 w 189574"/>
                <a:gd name="connsiteY14" fmla="*/ 128942 h 129080"/>
                <a:gd name="connsiteX15" fmla="*/ 165455 w 189574"/>
                <a:gd name="connsiteY15" fmla="*/ 45581 h 129080"/>
                <a:gd name="connsiteX16" fmla="*/ 167709 w 189574"/>
                <a:gd name="connsiteY16" fmla="*/ 30978 h 129080"/>
                <a:gd name="connsiteX17" fmla="*/ 163792 w 189574"/>
                <a:gd name="connsiteY17" fmla="*/ 21239 h 129080"/>
                <a:gd name="connsiteX18" fmla="*/ 152743 w 189574"/>
                <a:gd name="connsiteY18" fmla="*/ 17674 h 129080"/>
                <a:gd name="connsiteX19" fmla="*/ 133175 w 189574"/>
                <a:gd name="connsiteY19" fmla="*/ 23483 h 129080"/>
                <a:gd name="connsiteX20" fmla="*/ 117706 w 189574"/>
                <a:gd name="connsiteY20" fmla="*/ 38743 h 129080"/>
                <a:gd name="connsiteX21" fmla="*/ 108032 w 189574"/>
                <a:gd name="connsiteY21" fmla="*/ 67778 h 129080"/>
                <a:gd name="connsiteX22" fmla="*/ 95216 w 189574"/>
                <a:gd name="connsiteY22" fmla="*/ 128931 h 129080"/>
                <a:gd name="connsiteX23" fmla="*/ 73730 w 189574"/>
                <a:gd name="connsiteY23" fmla="*/ 128931 h 129080"/>
                <a:gd name="connsiteX24" fmla="*/ 91536 w 189574"/>
                <a:gd name="connsiteY24" fmla="*/ 43812 h 129080"/>
                <a:gd name="connsiteX25" fmla="*/ 93437 w 189574"/>
                <a:gd name="connsiteY25" fmla="*/ 31464 h 129080"/>
                <a:gd name="connsiteX26" fmla="*/ 89569 w 189574"/>
                <a:gd name="connsiteY26" fmla="*/ 21487 h 129080"/>
                <a:gd name="connsiteX27" fmla="*/ 79542 w 189574"/>
                <a:gd name="connsiteY27" fmla="*/ 17684 h 129080"/>
                <a:gd name="connsiteX28" fmla="*/ 60372 w 189574"/>
                <a:gd name="connsiteY28" fmla="*/ 23505 h 129080"/>
                <a:gd name="connsiteX29" fmla="*/ 44053 w 189574"/>
                <a:gd name="connsiteY29" fmla="*/ 39716 h 129080"/>
                <a:gd name="connsiteX30" fmla="*/ 33727 w 189574"/>
                <a:gd name="connsiteY30" fmla="*/ 69342 h 129080"/>
                <a:gd name="connsiteX31" fmla="*/ 21264 w 189574"/>
                <a:gd name="connsiteY31" fmla="*/ 128953 h 129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89574" h="129080">
                  <a:moveTo>
                    <a:pt x="-216" y="128931"/>
                  </a:moveTo>
                  <a:lnTo>
                    <a:pt x="26136" y="2822"/>
                  </a:lnTo>
                  <a:lnTo>
                    <a:pt x="47621" y="2822"/>
                  </a:lnTo>
                  <a:lnTo>
                    <a:pt x="43202" y="23604"/>
                  </a:lnTo>
                  <a:cubicBezTo>
                    <a:pt x="49268" y="16286"/>
                    <a:pt x="56510" y="10024"/>
                    <a:pt x="64626" y="5077"/>
                  </a:cubicBezTo>
                  <a:cubicBezTo>
                    <a:pt x="70913" y="1678"/>
                    <a:pt x="77957" y="-80"/>
                    <a:pt x="85100" y="-30"/>
                  </a:cubicBezTo>
                  <a:cubicBezTo>
                    <a:pt x="92171" y="-279"/>
                    <a:pt x="99105" y="1927"/>
                    <a:pt x="104740" y="6205"/>
                  </a:cubicBezTo>
                  <a:cubicBezTo>
                    <a:pt x="110143" y="10599"/>
                    <a:pt x="113822" y="16761"/>
                    <a:pt x="115126" y="23604"/>
                  </a:cubicBezTo>
                  <a:cubicBezTo>
                    <a:pt x="120667" y="16441"/>
                    <a:pt x="127540" y="10411"/>
                    <a:pt x="135363" y="5851"/>
                  </a:cubicBezTo>
                  <a:cubicBezTo>
                    <a:pt x="142191" y="1999"/>
                    <a:pt x="149898" y="-30"/>
                    <a:pt x="157737" y="-30"/>
                  </a:cubicBezTo>
                  <a:cubicBezTo>
                    <a:pt x="166300" y="-688"/>
                    <a:pt x="174786" y="1999"/>
                    <a:pt x="181415" y="7454"/>
                  </a:cubicBezTo>
                  <a:cubicBezTo>
                    <a:pt x="186907" y="13020"/>
                    <a:pt x="189774" y="20653"/>
                    <a:pt x="189310" y="28457"/>
                  </a:cubicBezTo>
                  <a:cubicBezTo>
                    <a:pt x="188962" y="34935"/>
                    <a:pt x="188050" y="41374"/>
                    <a:pt x="186581" y="47692"/>
                  </a:cubicBezTo>
                  <a:lnTo>
                    <a:pt x="169609" y="128942"/>
                  </a:lnTo>
                  <a:lnTo>
                    <a:pt x="148124" y="128942"/>
                  </a:lnTo>
                  <a:lnTo>
                    <a:pt x="165455" y="45581"/>
                  </a:lnTo>
                  <a:cubicBezTo>
                    <a:pt x="166665" y="40794"/>
                    <a:pt x="167416" y="35908"/>
                    <a:pt x="167709" y="30978"/>
                  </a:cubicBezTo>
                  <a:cubicBezTo>
                    <a:pt x="167891" y="27313"/>
                    <a:pt x="166460" y="23753"/>
                    <a:pt x="163792" y="21239"/>
                  </a:cubicBezTo>
                  <a:cubicBezTo>
                    <a:pt x="160693" y="18690"/>
                    <a:pt x="156743" y="17419"/>
                    <a:pt x="152743" y="17674"/>
                  </a:cubicBezTo>
                  <a:cubicBezTo>
                    <a:pt x="145821" y="17828"/>
                    <a:pt x="139064" y="19835"/>
                    <a:pt x="133175" y="23483"/>
                  </a:cubicBezTo>
                  <a:cubicBezTo>
                    <a:pt x="126772" y="27131"/>
                    <a:pt x="121440" y="32392"/>
                    <a:pt x="117706" y="38743"/>
                  </a:cubicBezTo>
                  <a:cubicBezTo>
                    <a:pt x="113043" y="47880"/>
                    <a:pt x="109784" y="57668"/>
                    <a:pt x="108032" y="67778"/>
                  </a:cubicBezTo>
                  <a:lnTo>
                    <a:pt x="95216" y="128931"/>
                  </a:lnTo>
                  <a:lnTo>
                    <a:pt x="73730" y="128931"/>
                  </a:lnTo>
                  <a:lnTo>
                    <a:pt x="91536" y="43812"/>
                  </a:lnTo>
                  <a:cubicBezTo>
                    <a:pt x="92552" y="39766"/>
                    <a:pt x="93188" y="35631"/>
                    <a:pt x="93437" y="31464"/>
                  </a:cubicBezTo>
                  <a:cubicBezTo>
                    <a:pt x="93586" y="27744"/>
                    <a:pt x="92188" y="24129"/>
                    <a:pt x="89569" y="21487"/>
                  </a:cubicBezTo>
                  <a:cubicBezTo>
                    <a:pt x="86884" y="18906"/>
                    <a:pt x="83260" y="17535"/>
                    <a:pt x="79542" y="17684"/>
                  </a:cubicBezTo>
                  <a:cubicBezTo>
                    <a:pt x="72747" y="17889"/>
                    <a:pt x="66134" y="19901"/>
                    <a:pt x="60372" y="23505"/>
                  </a:cubicBezTo>
                  <a:cubicBezTo>
                    <a:pt x="53638" y="27429"/>
                    <a:pt x="48025" y="33011"/>
                    <a:pt x="44053" y="39716"/>
                  </a:cubicBezTo>
                  <a:cubicBezTo>
                    <a:pt x="39020" y="48963"/>
                    <a:pt x="35534" y="58967"/>
                    <a:pt x="33727" y="69342"/>
                  </a:cubicBezTo>
                  <a:lnTo>
                    <a:pt x="21264" y="12895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xmlns="" id="{9AC6C981-3E47-4B59-BF0C-F4BEE67B14C5}"/>
                </a:ext>
              </a:extLst>
            </p:cNvPr>
            <p:cNvSpPr/>
            <p:nvPr/>
          </p:nvSpPr>
          <p:spPr>
            <a:xfrm>
              <a:off x="6736427" y="4343078"/>
              <a:ext cx="117279" cy="131914"/>
            </a:xfrm>
            <a:custGeom>
              <a:avLst/>
              <a:gdLst>
                <a:gd name="connsiteX0" fmla="*/ 82197 w 117279"/>
                <a:gd name="connsiteY0" fmla="*/ 113220 h 131914"/>
                <a:gd name="connsiteX1" fmla="*/ 60717 w 117279"/>
                <a:gd name="connsiteY1" fmla="*/ 127293 h 131914"/>
                <a:gd name="connsiteX2" fmla="*/ 38619 w 117279"/>
                <a:gd name="connsiteY2" fmla="*/ 131747 h 131914"/>
                <a:gd name="connsiteX3" fmla="*/ 10488 w 117279"/>
                <a:gd name="connsiteY3" fmla="*/ 121478 h 131914"/>
                <a:gd name="connsiteX4" fmla="*/ -197 w 117279"/>
                <a:gd name="connsiteY4" fmla="*/ 95174 h 131914"/>
                <a:gd name="connsiteX5" fmla="*/ 4609 w 117279"/>
                <a:gd name="connsiteY5" fmla="*/ 76470 h 131914"/>
                <a:gd name="connsiteX6" fmla="*/ 17371 w 117279"/>
                <a:gd name="connsiteY6" fmla="*/ 63409 h 131914"/>
                <a:gd name="connsiteX7" fmla="*/ 36834 w 117279"/>
                <a:gd name="connsiteY7" fmla="*/ 56340 h 131914"/>
                <a:gd name="connsiteX8" fmla="*/ 64314 w 117279"/>
                <a:gd name="connsiteY8" fmla="*/ 54085 h 131914"/>
                <a:gd name="connsiteX9" fmla="*/ 93334 w 117279"/>
                <a:gd name="connsiteY9" fmla="*/ 49812 h 131914"/>
                <a:gd name="connsiteX10" fmla="*/ 95826 w 117279"/>
                <a:gd name="connsiteY10" fmla="*/ 35204 h 131914"/>
                <a:gd name="connsiteX11" fmla="*/ 90367 w 117279"/>
                <a:gd name="connsiteY11" fmla="*/ 23447 h 131914"/>
                <a:gd name="connsiteX12" fmla="*/ 68529 w 117279"/>
                <a:gd name="connsiteY12" fmla="*/ 17511 h 131914"/>
                <a:gd name="connsiteX13" fmla="*/ 46392 w 117279"/>
                <a:gd name="connsiteY13" fmla="*/ 23509 h 131914"/>
                <a:gd name="connsiteX14" fmla="*/ 33868 w 117279"/>
                <a:gd name="connsiteY14" fmla="*/ 40549 h 131914"/>
                <a:gd name="connsiteX15" fmla="*/ 12151 w 117279"/>
                <a:gd name="connsiteY15" fmla="*/ 38647 h 131914"/>
                <a:gd name="connsiteX16" fmla="*/ 33216 w 117279"/>
                <a:gd name="connsiteY16" fmla="*/ 9906 h 131914"/>
                <a:gd name="connsiteX17" fmla="*/ 69595 w 117279"/>
                <a:gd name="connsiteY17" fmla="*/ -43 h 131914"/>
                <a:gd name="connsiteX18" fmla="*/ 106610 w 117279"/>
                <a:gd name="connsiteY18" fmla="*/ 11122 h 131914"/>
                <a:gd name="connsiteX19" fmla="*/ 117057 w 117279"/>
                <a:gd name="connsiteY19" fmla="*/ 32733 h 131914"/>
                <a:gd name="connsiteX20" fmla="*/ 114090 w 117279"/>
                <a:gd name="connsiteY20" fmla="*/ 56124 h 131914"/>
                <a:gd name="connsiteX21" fmla="*/ 107107 w 117279"/>
                <a:gd name="connsiteY21" fmla="*/ 87453 h 131914"/>
                <a:gd name="connsiteX22" fmla="*/ 103792 w 117279"/>
                <a:gd name="connsiteY22" fmla="*/ 111772 h 131914"/>
                <a:gd name="connsiteX23" fmla="*/ 106400 w 117279"/>
                <a:gd name="connsiteY23" fmla="*/ 128868 h 131914"/>
                <a:gd name="connsiteX24" fmla="*/ 84683 w 117279"/>
                <a:gd name="connsiteY24" fmla="*/ 128868 h 131914"/>
                <a:gd name="connsiteX25" fmla="*/ 82197 w 117279"/>
                <a:gd name="connsiteY25" fmla="*/ 113220 h 131914"/>
                <a:gd name="connsiteX26" fmla="*/ 90152 w 117279"/>
                <a:gd name="connsiteY26" fmla="*/ 65012 h 131914"/>
                <a:gd name="connsiteX27" fmla="*/ 80479 w 117279"/>
                <a:gd name="connsiteY27" fmla="*/ 67743 h 131914"/>
                <a:gd name="connsiteX28" fmla="*/ 63209 w 117279"/>
                <a:gd name="connsiteY28" fmla="*/ 69760 h 131914"/>
                <a:gd name="connsiteX29" fmla="*/ 36741 w 117279"/>
                <a:gd name="connsiteY29" fmla="*/ 73977 h 131914"/>
                <a:gd name="connsiteX30" fmla="*/ 25106 w 117279"/>
                <a:gd name="connsiteY30" fmla="*/ 82108 h 131914"/>
                <a:gd name="connsiteX31" fmla="*/ 21189 w 117279"/>
                <a:gd name="connsiteY31" fmla="*/ 94461 h 131914"/>
                <a:gd name="connsiteX32" fmla="*/ 27421 w 117279"/>
                <a:gd name="connsiteY32" fmla="*/ 109302 h 131914"/>
                <a:gd name="connsiteX33" fmla="*/ 45165 w 117279"/>
                <a:gd name="connsiteY33" fmla="*/ 115122 h 131914"/>
                <a:gd name="connsiteX34" fmla="*/ 81246 w 117279"/>
                <a:gd name="connsiteY34" fmla="*/ 93748 h 131914"/>
                <a:gd name="connsiteX35" fmla="*/ 90152 w 117279"/>
                <a:gd name="connsiteY35" fmla="*/ 65012 h 131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117279" h="131914">
                  <a:moveTo>
                    <a:pt x="82197" y="113220"/>
                  </a:moveTo>
                  <a:cubicBezTo>
                    <a:pt x="75788" y="118969"/>
                    <a:pt x="68545" y="123716"/>
                    <a:pt x="60717" y="127293"/>
                  </a:cubicBezTo>
                  <a:cubicBezTo>
                    <a:pt x="53734" y="130283"/>
                    <a:pt x="46215" y="131797"/>
                    <a:pt x="38619" y="131747"/>
                  </a:cubicBezTo>
                  <a:cubicBezTo>
                    <a:pt x="28249" y="132217"/>
                    <a:pt x="18117" y="128520"/>
                    <a:pt x="10488" y="121478"/>
                  </a:cubicBezTo>
                  <a:cubicBezTo>
                    <a:pt x="3361" y="114624"/>
                    <a:pt x="-523" y="105062"/>
                    <a:pt x="-197" y="95174"/>
                  </a:cubicBezTo>
                  <a:cubicBezTo>
                    <a:pt x="-324" y="88619"/>
                    <a:pt x="1339" y="82152"/>
                    <a:pt x="4609" y="76470"/>
                  </a:cubicBezTo>
                  <a:cubicBezTo>
                    <a:pt x="7725" y="71136"/>
                    <a:pt x="12112" y="66648"/>
                    <a:pt x="17371" y="63409"/>
                  </a:cubicBezTo>
                  <a:cubicBezTo>
                    <a:pt x="23365" y="59866"/>
                    <a:pt x="29967" y="57473"/>
                    <a:pt x="36834" y="56340"/>
                  </a:cubicBezTo>
                  <a:cubicBezTo>
                    <a:pt x="45939" y="55013"/>
                    <a:pt x="55115" y="54262"/>
                    <a:pt x="64314" y="54085"/>
                  </a:cubicBezTo>
                  <a:cubicBezTo>
                    <a:pt x="74147" y="54123"/>
                    <a:pt x="83931" y="52681"/>
                    <a:pt x="93334" y="49812"/>
                  </a:cubicBezTo>
                  <a:cubicBezTo>
                    <a:pt x="94815" y="45076"/>
                    <a:pt x="95649" y="40162"/>
                    <a:pt x="95826" y="35204"/>
                  </a:cubicBezTo>
                  <a:cubicBezTo>
                    <a:pt x="96019" y="30633"/>
                    <a:pt x="93980" y="26250"/>
                    <a:pt x="90367" y="23447"/>
                  </a:cubicBezTo>
                  <a:cubicBezTo>
                    <a:pt x="83959" y="19076"/>
                    <a:pt x="76269" y="16981"/>
                    <a:pt x="68529" y="17511"/>
                  </a:cubicBezTo>
                  <a:cubicBezTo>
                    <a:pt x="60706" y="17174"/>
                    <a:pt x="52977" y="19269"/>
                    <a:pt x="46392" y="23509"/>
                  </a:cubicBezTo>
                  <a:cubicBezTo>
                    <a:pt x="40508" y="27709"/>
                    <a:pt x="36116" y="33678"/>
                    <a:pt x="33868" y="40549"/>
                  </a:cubicBezTo>
                  <a:lnTo>
                    <a:pt x="12151" y="38647"/>
                  </a:lnTo>
                  <a:cubicBezTo>
                    <a:pt x="15902" y="27051"/>
                    <a:pt x="23288" y="16970"/>
                    <a:pt x="33216" y="9906"/>
                  </a:cubicBezTo>
                  <a:cubicBezTo>
                    <a:pt x="44027" y="2919"/>
                    <a:pt x="56734" y="-552"/>
                    <a:pt x="69595" y="-43"/>
                  </a:cubicBezTo>
                  <a:cubicBezTo>
                    <a:pt x="82859" y="-767"/>
                    <a:pt x="95953" y="3185"/>
                    <a:pt x="106610" y="11122"/>
                  </a:cubicBezTo>
                  <a:cubicBezTo>
                    <a:pt x="113361" y="16229"/>
                    <a:pt x="117250" y="24266"/>
                    <a:pt x="117057" y="32733"/>
                  </a:cubicBezTo>
                  <a:cubicBezTo>
                    <a:pt x="116913" y="40615"/>
                    <a:pt x="115919" y="48458"/>
                    <a:pt x="114090" y="56124"/>
                  </a:cubicBezTo>
                  <a:lnTo>
                    <a:pt x="107107" y="87453"/>
                  </a:lnTo>
                  <a:cubicBezTo>
                    <a:pt x="105157" y="95423"/>
                    <a:pt x="104046" y="103570"/>
                    <a:pt x="103792" y="111772"/>
                  </a:cubicBezTo>
                  <a:cubicBezTo>
                    <a:pt x="104052" y="117548"/>
                    <a:pt x="104925" y="123280"/>
                    <a:pt x="106400" y="128868"/>
                  </a:cubicBezTo>
                  <a:lnTo>
                    <a:pt x="84683" y="128868"/>
                  </a:lnTo>
                  <a:cubicBezTo>
                    <a:pt x="83335" y="123750"/>
                    <a:pt x="82500" y="118504"/>
                    <a:pt x="82197" y="113220"/>
                  </a:cubicBezTo>
                  <a:close/>
                  <a:moveTo>
                    <a:pt x="90152" y="65012"/>
                  </a:moveTo>
                  <a:cubicBezTo>
                    <a:pt x="87025" y="66234"/>
                    <a:pt x="83782" y="67151"/>
                    <a:pt x="80479" y="67743"/>
                  </a:cubicBezTo>
                  <a:cubicBezTo>
                    <a:pt x="77037" y="68378"/>
                    <a:pt x="71280" y="69053"/>
                    <a:pt x="63209" y="69760"/>
                  </a:cubicBezTo>
                  <a:cubicBezTo>
                    <a:pt x="54264" y="70263"/>
                    <a:pt x="45398" y="71678"/>
                    <a:pt x="36741" y="73977"/>
                  </a:cubicBezTo>
                  <a:cubicBezTo>
                    <a:pt x="32078" y="75343"/>
                    <a:pt x="27990" y="78195"/>
                    <a:pt x="25106" y="82108"/>
                  </a:cubicBezTo>
                  <a:cubicBezTo>
                    <a:pt x="22537" y="85711"/>
                    <a:pt x="21161" y="90034"/>
                    <a:pt x="21189" y="94461"/>
                  </a:cubicBezTo>
                  <a:cubicBezTo>
                    <a:pt x="21018" y="100077"/>
                    <a:pt x="23294" y="105493"/>
                    <a:pt x="27421" y="109302"/>
                  </a:cubicBezTo>
                  <a:cubicBezTo>
                    <a:pt x="32365" y="113458"/>
                    <a:pt x="38724" y="115547"/>
                    <a:pt x="45165" y="115122"/>
                  </a:cubicBezTo>
                  <a:cubicBezTo>
                    <a:pt x="60142" y="114956"/>
                    <a:pt x="73899" y="106809"/>
                    <a:pt x="81246" y="93748"/>
                  </a:cubicBezTo>
                  <a:cubicBezTo>
                    <a:pt x="85782" y="84728"/>
                    <a:pt x="88793" y="75016"/>
                    <a:pt x="90152" y="65012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C33E3A2B-80CB-425D-AFA1-1252049BC558}"/>
                </a:ext>
              </a:extLst>
            </p:cNvPr>
            <p:cNvSpPr/>
            <p:nvPr/>
          </p:nvSpPr>
          <p:spPr>
            <a:xfrm>
              <a:off x="6873351" y="4300156"/>
              <a:ext cx="64515" cy="174129"/>
            </a:xfrm>
            <a:custGeom>
              <a:avLst/>
              <a:gdLst>
                <a:gd name="connsiteX0" fmla="*/ 44472 w 64515"/>
                <a:gd name="connsiteY0" fmla="*/ 154364 h 174129"/>
                <a:gd name="connsiteX1" fmla="*/ 40897 w 64515"/>
                <a:gd name="connsiteY1" fmla="*/ 171940 h 174129"/>
                <a:gd name="connsiteX2" fmla="*/ 25942 w 64515"/>
                <a:gd name="connsiteY2" fmla="*/ 173957 h 174129"/>
                <a:gd name="connsiteX3" fmla="*/ 5502 w 64515"/>
                <a:gd name="connsiteY3" fmla="*/ 167662 h 174129"/>
                <a:gd name="connsiteX4" fmla="*/ -200 w 64515"/>
                <a:gd name="connsiteY4" fmla="*/ 154723 h 174129"/>
                <a:gd name="connsiteX5" fmla="*/ 2888 w 64515"/>
                <a:gd name="connsiteY5" fmla="*/ 135604 h 174129"/>
                <a:gd name="connsiteX6" fmla="*/ 18247 w 64515"/>
                <a:gd name="connsiteY6" fmla="*/ 62336 h 174129"/>
                <a:gd name="connsiteX7" fmla="*/ 1275 w 64515"/>
                <a:gd name="connsiteY7" fmla="*/ 62336 h 174129"/>
                <a:gd name="connsiteX8" fmla="*/ 4717 w 64515"/>
                <a:gd name="connsiteY8" fmla="*/ 45710 h 174129"/>
                <a:gd name="connsiteX9" fmla="*/ 21688 w 64515"/>
                <a:gd name="connsiteY9" fmla="*/ 45710 h 174129"/>
                <a:gd name="connsiteX10" fmla="*/ 28219 w 64515"/>
                <a:gd name="connsiteY10" fmla="*/ 14719 h 174129"/>
                <a:gd name="connsiteX11" fmla="*/ 52786 w 64515"/>
                <a:gd name="connsiteY11" fmla="*/ -128 h 174129"/>
                <a:gd name="connsiteX12" fmla="*/ 43173 w 64515"/>
                <a:gd name="connsiteY12" fmla="*/ 45710 h 174129"/>
                <a:gd name="connsiteX13" fmla="*/ 64300 w 64515"/>
                <a:gd name="connsiteY13" fmla="*/ 45710 h 174129"/>
                <a:gd name="connsiteX14" fmla="*/ 60741 w 64515"/>
                <a:gd name="connsiteY14" fmla="*/ 62336 h 174129"/>
                <a:gd name="connsiteX15" fmla="*/ 39748 w 64515"/>
                <a:gd name="connsiteY15" fmla="*/ 62336 h 174129"/>
                <a:gd name="connsiteX16" fmla="*/ 25147 w 64515"/>
                <a:gd name="connsiteY16" fmla="*/ 132039 h 174129"/>
                <a:gd name="connsiteX17" fmla="*/ 22418 w 64515"/>
                <a:gd name="connsiteY17" fmla="*/ 147952 h 174129"/>
                <a:gd name="connsiteX18" fmla="*/ 24627 w 64515"/>
                <a:gd name="connsiteY18" fmla="*/ 153772 h 174129"/>
                <a:gd name="connsiteX19" fmla="*/ 31809 w 64515"/>
                <a:gd name="connsiteY19" fmla="*/ 155790 h 174129"/>
                <a:gd name="connsiteX20" fmla="*/ 44472 w 64515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515" h="174129">
                  <a:moveTo>
                    <a:pt x="44472" y="154364"/>
                  </a:moveTo>
                  <a:lnTo>
                    <a:pt x="40897" y="171940"/>
                  </a:lnTo>
                  <a:cubicBezTo>
                    <a:pt x="36019" y="173250"/>
                    <a:pt x="30992" y="173924"/>
                    <a:pt x="25942" y="173957"/>
                  </a:cubicBezTo>
                  <a:cubicBezTo>
                    <a:pt x="18600" y="174350"/>
                    <a:pt x="11352" y="172122"/>
                    <a:pt x="5502" y="167662"/>
                  </a:cubicBezTo>
                  <a:cubicBezTo>
                    <a:pt x="1690" y="164473"/>
                    <a:pt x="-421" y="159692"/>
                    <a:pt x="-200" y="154723"/>
                  </a:cubicBezTo>
                  <a:cubicBezTo>
                    <a:pt x="353" y="148283"/>
                    <a:pt x="1386" y="141889"/>
                    <a:pt x="2888" y="135604"/>
                  </a:cubicBezTo>
                  <a:lnTo>
                    <a:pt x="18247" y="62336"/>
                  </a:lnTo>
                  <a:lnTo>
                    <a:pt x="1275" y="62336"/>
                  </a:lnTo>
                  <a:lnTo>
                    <a:pt x="4717" y="45710"/>
                  </a:lnTo>
                  <a:lnTo>
                    <a:pt x="21688" y="45710"/>
                  </a:lnTo>
                  <a:lnTo>
                    <a:pt x="28219" y="14719"/>
                  </a:lnTo>
                  <a:lnTo>
                    <a:pt x="52786" y="-128"/>
                  </a:lnTo>
                  <a:lnTo>
                    <a:pt x="43173" y="45710"/>
                  </a:lnTo>
                  <a:lnTo>
                    <a:pt x="64300" y="45710"/>
                  </a:lnTo>
                  <a:lnTo>
                    <a:pt x="60741" y="62336"/>
                  </a:lnTo>
                  <a:lnTo>
                    <a:pt x="39748" y="62336"/>
                  </a:lnTo>
                  <a:lnTo>
                    <a:pt x="25147" y="132039"/>
                  </a:lnTo>
                  <a:cubicBezTo>
                    <a:pt x="23909" y="137284"/>
                    <a:pt x="22998" y="142596"/>
                    <a:pt x="22418" y="147952"/>
                  </a:cubicBezTo>
                  <a:cubicBezTo>
                    <a:pt x="22274" y="150119"/>
                    <a:pt x="23081" y="152246"/>
                    <a:pt x="24627" y="153772"/>
                  </a:cubicBezTo>
                  <a:cubicBezTo>
                    <a:pt x="26694" y="155309"/>
                    <a:pt x="29246" y="156027"/>
                    <a:pt x="31809" y="155790"/>
                  </a:cubicBezTo>
                  <a:cubicBezTo>
                    <a:pt x="36074" y="155839"/>
                    <a:pt x="40328" y="155364"/>
                    <a:pt x="44472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492E2DFE-DFC8-46DF-852F-9C5904B7AFC0}"/>
                </a:ext>
              </a:extLst>
            </p:cNvPr>
            <p:cNvSpPr/>
            <p:nvPr/>
          </p:nvSpPr>
          <p:spPr>
            <a:xfrm>
              <a:off x="6939695" y="4300156"/>
              <a:ext cx="64465" cy="174129"/>
            </a:xfrm>
            <a:custGeom>
              <a:avLst/>
              <a:gdLst>
                <a:gd name="connsiteX0" fmla="*/ 44449 w 64465"/>
                <a:gd name="connsiteY0" fmla="*/ 154364 h 174129"/>
                <a:gd name="connsiteX1" fmla="*/ 40892 w 64465"/>
                <a:gd name="connsiteY1" fmla="*/ 171940 h 174129"/>
                <a:gd name="connsiteX2" fmla="*/ 25937 w 64465"/>
                <a:gd name="connsiteY2" fmla="*/ 173957 h 174129"/>
                <a:gd name="connsiteX3" fmla="*/ 5496 w 64465"/>
                <a:gd name="connsiteY3" fmla="*/ 167662 h 174129"/>
                <a:gd name="connsiteX4" fmla="*/ -200 w 64465"/>
                <a:gd name="connsiteY4" fmla="*/ 154723 h 174129"/>
                <a:gd name="connsiteX5" fmla="*/ 2888 w 64465"/>
                <a:gd name="connsiteY5" fmla="*/ 135604 h 174129"/>
                <a:gd name="connsiteX6" fmla="*/ 18197 w 64465"/>
                <a:gd name="connsiteY6" fmla="*/ 62336 h 174129"/>
                <a:gd name="connsiteX7" fmla="*/ 1225 w 64465"/>
                <a:gd name="connsiteY7" fmla="*/ 62336 h 174129"/>
                <a:gd name="connsiteX8" fmla="*/ 4667 w 64465"/>
                <a:gd name="connsiteY8" fmla="*/ 45710 h 174129"/>
                <a:gd name="connsiteX9" fmla="*/ 21639 w 64465"/>
                <a:gd name="connsiteY9" fmla="*/ 45710 h 174129"/>
                <a:gd name="connsiteX10" fmla="*/ 28169 w 64465"/>
                <a:gd name="connsiteY10" fmla="*/ 14719 h 174129"/>
                <a:gd name="connsiteX11" fmla="*/ 52736 w 64465"/>
                <a:gd name="connsiteY11" fmla="*/ -128 h 174129"/>
                <a:gd name="connsiteX12" fmla="*/ 43124 w 64465"/>
                <a:gd name="connsiteY12" fmla="*/ 45710 h 174129"/>
                <a:gd name="connsiteX13" fmla="*/ 64250 w 64465"/>
                <a:gd name="connsiteY13" fmla="*/ 45710 h 174129"/>
                <a:gd name="connsiteX14" fmla="*/ 60692 w 64465"/>
                <a:gd name="connsiteY14" fmla="*/ 62336 h 174129"/>
                <a:gd name="connsiteX15" fmla="*/ 39698 w 64465"/>
                <a:gd name="connsiteY15" fmla="*/ 62336 h 174129"/>
                <a:gd name="connsiteX16" fmla="*/ 25097 w 64465"/>
                <a:gd name="connsiteY16" fmla="*/ 132039 h 174129"/>
                <a:gd name="connsiteX17" fmla="*/ 22368 w 64465"/>
                <a:gd name="connsiteY17" fmla="*/ 147952 h 174129"/>
                <a:gd name="connsiteX18" fmla="*/ 24578 w 64465"/>
                <a:gd name="connsiteY18" fmla="*/ 153772 h 174129"/>
                <a:gd name="connsiteX19" fmla="*/ 31759 w 64465"/>
                <a:gd name="connsiteY19" fmla="*/ 155790 h 174129"/>
                <a:gd name="connsiteX20" fmla="*/ 44449 w 64465"/>
                <a:gd name="connsiteY20" fmla="*/ 154364 h 174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4465" h="174129">
                  <a:moveTo>
                    <a:pt x="44449" y="154364"/>
                  </a:moveTo>
                  <a:lnTo>
                    <a:pt x="40892" y="171940"/>
                  </a:lnTo>
                  <a:cubicBezTo>
                    <a:pt x="36013" y="173250"/>
                    <a:pt x="30986" y="173924"/>
                    <a:pt x="25937" y="173957"/>
                  </a:cubicBezTo>
                  <a:cubicBezTo>
                    <a:pt x="18594" y="174350"/>
                    <a:pt x="11346" y="172117"/>
                    <a:pt x="5496" y="167662"/>
                  </a:cubicBezTo>
                  <a:cubicBezTo>
                    <a:pt x="1684" y="164473"/>
                    <a:pt x="-421" y="159686"/>
                    <a:pt x="-200" y="154723"/>
                  </a:cubicBezTo>
                  <a:cubicBezTo>
                    <a:pt x="352" y="148283"/>
                    <a:pt x="1385" y="141889"/>
                    <a:pt x="2888" y="135604"/>
                  </a:cubicBezTo>
                  <a:lnTo>
                    <a:pt x="18197" y="62336"/>
                  </a:lnTo>
                  <a:lnTo>
                    <a:pt x="1225" y="62336"/>
                  </a:lnTo>
                  <a:lnTo>
                    <a:pt x="4667" y="45710"/>
                  </a:lnTo>
                  <a:lnTo>
                    <a:pt x="21639" y="45710"/>
                  </a:lnTo>
                  <a:lnTo>
                    <a:pt x="28169" y="14719"/>
                  </a:lnTo>
                  <a:lnTo>
                    <a:pt x="52736" y="-128"/>
                  </a:lnTo>
                  <a:lnTo>
                    <a:pt x="43124" y="45710"/>
                  </a:lnTo>
                  <a:lnTo>
                    <a:pt x="64250" y="45710"/>
                  </a:lnTo>
                  <a:lnTo>
                    <a:pt x="60692" y="62336"/>
                  </a:lnTo>
                  <a:lnTo>
                    <a:pt x="39698" y="62336"/>
                  </a:lnTo>
                  <a:lnTo>
                    <a:pt x="25097" y="132039"/>
                  </a:lnTo>
                  <a:cubicBezTo>
                    <a:pt x="23859" y="137284"/>
                    <a:pt x="22948" y="142596"/>
                    <a:pt x="22368" y="147952"/>
                  </a:cubicBezTo>
                  <a:cubicBezTo>
                    <a:pt x="22224" y="150119"/>
                    <a:pt x="23031" y="152246"/>
                    <a:pt x="24578" y="153772"/>
                  </a:cubicBezTo>
                  <a:cubicBezTo>
                    <a:pt x="26638" y="155309"/>
                    <a:pt x="29196" y="156027"/>
                    <a:pt x="31759" y="155790"/>
                  </a:cubicBezTo>
                  <a:cubicBezTo>
                    <a:pt x="36030" y="155845"/>
                    <a:pt x="40295" y="155364"/>
                    <a:pt x="44449" y="154364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xmlns="" id="{683F25D5-32F4-4811-B3A0-0E5DD74ED1C7}"/>
                </a:ext>
              </a:extLst>
            </p:cNvPr>
            <p:cNvSpPr/>
            <p:nvPr/>
          </p:nvSpPr>
          <p:spPr>
            <a:xfrm>
              <a:off x="7004974" y="4343117"/>
              <a:ext cx="116761" cy="131848"/>
            </a:xfrm>
            <a:custGeom>
              <a:avLst/>
              <a:gdLst>
                <a:gd name="connsiteX0" fmla="*/ 87862 w 116761"/>
                <a:gd name="connsiteY0" fmla="*/ 85988 h 131848"/>
                <a:gd name="connsiteX1" fmla="*/ 108750 w 116761"/>
                <a:gd name="connsiteY1" fmla="*/ 88127 h 131848"/>
                <a:gd name="connsiteX2" fmla="*/ 88038 w 116761"/>
                <a:gd name="connsiteY2" fmla="*/ 117697 h 131848"/>
                <a:gd name="connsiteX3" fmla="*/ 49405 w 116761"/>
                <a:gd name="connsiteY3" fmla="*/ 131709 h 131848"/>
                <a:gd name="connsiteX4" fmla="*/ 23710 w 116761"/>
                <a:gd name="connsiteY4" fmla="*/ 125237 h 131848"/>
                <a:gd name="connsiteX5" fmla="*/ 5905 w 116761"/>
                <a:gd name="connsiteY5" fmla="*/ 106444 h 131848"/>
                <a:gd name="connsiteX6" fmla="*/ -206 w 116761"/>
                <a:gd name="connsiteY6" fmla="*/ 78300 h 131848"/>
                <a:gd name="connsiteX7" fmla="*/ 9346 w 116761"/>
                <a:gd name="connsiteY7" fmla="*/ 38222 h 131848"/>
                <a:gd name="connsiteX8" fmla="*/ 34096 w 116761"/>
                <a:gd name="connsiteY8" fmla="*/ 9364 h 131848"/>
                <a:gd name="connsiteX9" fmla="*/ 66973 w 116761"/>
                <a:gd name="connsiteY9" fmla="*/ -76 h 131848"/>
                <a:gd name="connsiteX10" fmla="*/ 102993 w 116761"/>
                <a:gd name="connsiteY10" fmla="*/ 13935 h 131848"/>
                <a:gd name="connsiteX11" fmla="*/ 116468 w 116761"/>
                <a:gd name="connsiteY11" fmla="*/ 52173 h 131848"/>
                <a:gd name="connsiteX12" fmla="*/ 114810 w 116761"/>
                <a:gd name="connsiteY12" fmla="*/ 71175 h 131848"/>
                <a:gd name="connsiteX13" fmla="*/ 21976 w 116761"/>
                <a:gd name="connsiteY13" fmla="*/ 71175 h 131848"/>
                <a:gd name="connsiteX14" fmla="*/ 21501 w 116761"/>
                <a:gd name="connsiteY14" fmla="*/ 77808 h 131848"/>
                <a:gd name="connsiteX15" fmla="*/ 29633 w 116761"/>
                <a:gd name="connsiteY15" fmla="*/ 104825 h 131848"/>
                <a:gd name="connsiteX16" fmla="*/ 49521 w 116761"/>
                <a:gd name="connsiteY16" fmla="*/ 114143 h 131848"/>
                <a:gd name="connsiteX17" fmla="*/ 71238 w 116761"/>
                <a:gd name="connsiteY17" fmla="*/ 106903 h 131848"/>
                <a:gd name="connsiteX18" fmla="*/ 87862 w 116761"/>
                <a:gd name="connsiteY18" fmla="*/ 85988 h 131848"/>
                <a:gd name="connsiteX19" fmla="*/ 25434 w 116761"/>
                <a:gd name="connsiteY19" fmla="*/ 54759 h 131848"/>
                <a:gd name="connsiteX20" fmla="*/ 96171 w 116761"/>
                <a:gd name="connsiteY20" fmla="*/ 54759 h 131848"/>
                <a:gd name="connsiteX21" fmla="*/ 96292 w 116761"/>
                <a:gd name="connsiteY21" fmla="*/ 50011 h 131848"/>
                <a:gd name="connsiteX22" fmla="*/ 88221 w 116761"/>
                <a:gd name="connsiteY22" fmla="*/ 25249 h 131848"/>
                <a:gd name="connsiteX23" fmla="*/ 67448 w 116761"/>
                <a:gd name="connsiteY23" fmla="*/ 16643 h 131848"/>
                <a:gd name="connsiteX24" fmla="*/ 42345 w 116761"/>
                <a:gd name="connsiteY24" fmla="*/ 26139 h 131848"/>
                <a:gd name="connsiteX25" fmla="*/ 25429 w 116761"/>
                <a:gd name="connsiteY25" fmla="*/ 54759 h 1318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16761" h="131848">
                  <a:moveTo>
                    <a:pt x="87862" y="85988"/>
                  </a:moveTo>
                  <a:lnTo>
                    <a:pt x="108750" y="88127"/>
                  </a:lnTo>
                  <a:cubicBezTo>
                    <a:pt x="104866" y="99789"/>
                    <a:pt x="97668" y="110064"/>
                    <a:pt x="88038" y="117697"/>
                  </a:cubicBezTo>
                  <a:cubicBezTo>
                    <a:pt x="77343" y="127000"/>
                    <a:pt x="63576" y="131996"/>
                    <a:pt x="49405" y="131709"/>
                  </a:cubicBezTo>
                  <a:cubicBezTo>
                    <a:pt x="40428" y="131797"/>
                    <a:pt x="31577" y="129570"/>
                    <a:pt x="23710" y="125237"/>
                  </a:cubicBezTo>
                  <a:cubicBezTo>
                    <a:pt x="15965" y="120981"/>
                    <a:pt x="9739" y="114409"/>
                    <a:pt x="5905" y="106444"/>
                  </a:cubicBezTo>
                  <a:cubicBezTo>
                    <a:pt x="1706" y="97667"/>
                    <a:pt x="-382" y="88028"/>
                    <a:pt x="-206" y="78300"/>
                  </a:cubicBezTo>
                  <a:cubicBezTo>
                    <a:pt x="-172" y="64382"/>
                    <a:pt x="3098" y="50658"/>
                    <a:pt x="9346" y="38222"/>
                  </a:cubicBezTo>
                  <a:cubicBezTo>
                    <a:pt x="14694" y="26449"/>
                    <a:pt x="23279" y="16444"/>
                    <a:pt x="34096" y="9364"/>
                  </a:cubicBezTo>
                  <a:cubicBezTo>
                    <a:pt x="43936" y="3152"/>
                    <a:pt x="55339" y="-120"/>
                    <a:pt x="66973" y="-76"/>
                  </a:cubicBezTo>
                  <a:cubicBezTo>
                    <a:pt x="80420" y="-701"/>
                    <a:pt x="93502" y="4390"/>
                    <a:pt x="102993" y="13935"/>
                  </a:cubicBezTo>
                  <a:cubicBezTo>
                    <a:pt x="112385" y="24382"/>
                    <a:pt x="117230" y="38144"/>
                    <a:pt x="116468" y="52173"/>
                  </a:cubicBezTo>
                  <a:cubicBezTo>
                    <a:pt x="116451" y="58540"/>
                    <a:pt x="115899" y="64896"/>
                    <a:pt x="114810" y="71175"/>
                  </a:cubicBezTo>
                  <a:lnTo>
                    <a:pt x="21976" y="71175"/>
                  </a:lnTo>
                  <a:cubicBezTo>
                    <a:pt x="21677" y="73375"/>
                    <a:pt x="21517" y="75591"/>
                    <a:pt x="21501" y="77808"/>
                  </a:cubicBezTo>
                  <a:cubicBezTo>
                    <a:pt x="20832" y="87502"/>
                    <a:pt x="23727" y="97109"/>
                    <a:pt x="29633" y="104825"/>
                  </a:cubicBezTo>
                  <a:cubicBezTo>
                    <a:pt x="34511" y="110783"/>
                    <a:pt x="41825" y="114210"/>
                    <a:pt x="49521" y="114143"/>
                  </a:cubicBezTo>
                  <a:cubicBezTo>
                    <a:pt x="57327" y="114000"/>
                    <a:pt x="64907" y="111474"/>
                    <a:pt x="71238" y="106903"/>
                  </a:cubicBezTo>
                  <a:cubicBezTo>
                    <a:pt x="78680" y="101680"/>
                    <a:pt x="84453" y="94417"/>
                    <a:pt x="87862" y="85988"/>
                  </a:cubicBezTo>
                  <a:close/>
                  <a:moveTo>
                    <a:pt x="25434" y="54759"/>
                  </a:moveTo>
                  <a:lnTo>
                    <a:pt x="96171" y="54759"/>
                  </a:lnTo>
                  <a:cubicBezTo>
                    <a:pt x="96248" y="52548"/>
                    <a:pt x="96292" y="50962"/>
                    <a:pt x="96292" y="50011"/>
                  </a:cubicBezTo>
                  <a:cubicBezTo>
                    <a:pt x="96894" y="41024"/>
                    <a:pt x="94005" y="32153"/>
                    <a:pt x="88221" y="25249"/>
                  </a:cubicBezTo>
                  <a:cubicBezTo>
                    <a:pt x="82856" y="19523"/>
                    <a:pt x="75288" y="16384"/>
                    <a:pt x="67448" y="16643"/>
                  </a:cubicBezTo>
                  <a:cubicBezTo>
                    <a:pt x="58206" y="16666"/>
                    <a:pt x="49289" y="20037"/>
                    <a:pt x="42345" y="26139"/>
                  </a:cubicBezTo>
                  <a:cubicBezTo>
                    <a:pt x="33986" y="33783"/>
                    <a:pt x="28097" y="43749"/>
                    <a:pt x="25429" y="54759"/>
                  </a:cubicBez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BB152D0C-E801-4942-A6D5-2FBA71C7D1D9}"/>
                </a:ext>
              </a:extLst>
            </p:cNvPr>
            <p:cNvSpPr/>
            <p:nvPr/>
          </p:nvSpPr>
          <p:spPr>
            <a:xfrm>
              <a:off x="7134446" y="4343141"/>
              <a:ext cx="93884" cy="128960"/>
            </a:xfrm>
            <a:custGeom>
              <a:avLst/>
              <a:gdLst>
                <a:gd name="connsiteX0" fmla="*/ -216 w 93884"/>
                <a:gd name="connsiteY0" fmla="*/ 128833 h 128960"/>
                <a:gd name="connsiteX1" fmla="*/ 26136 w 93884"/>
                <a:gd name="connsiteY1" fmla="*/ 2724 h 128960"/>
                <a:gd name="connsiteX2" fmla="*/ 45124 w 93884"/>
                <a:gd name="connsiteY2" fmla="*/ 2724 h 128960"/>
                <a:gd name="connsiteX3" fmla="*/ 39788 w 93884"/>
                <a:gd name="connsiteY3" fmla="*/ 28492 h 128960"/>
                <a:gd name="connsiteX4" fmla="*/ 58836 w 93884"/>
                <a:gd name="connsiteY4" fmla="*/ 6881 h 128960"/>
                <a:gd name="connsiteX5" fmla="*/ 77885 w 93884"/>
                <a:gd name="connsiteY5" fmla="*/ -128 h 128960"/>
                <a:gd name="connsiteX6" fmla="*/ 93669 w 93884"/>
                <a:gd name="connsiteY6" fmla="*/ 4504 h 128960"/>
                <a:gd name="connsiteX7" fmla="*/ 84890 w 93884"/>
                <a:gd name="connsiteY7" fmla="*/ 24452 h 128960"/>
                <a:gd name="connsiteX8" fmla="*/ 72664 w 93884"/>
                <a:gd name="connsiteY8" fmla="*/ 20417 h 128960"/>
                <a:gd name="connsiteX9" fmla="*/ 49516 w 93884"/>
                <a:gd name="connsiteY9" fmla="*/ 33002 h 128960"/>
                <a:gd name="connsiteX10" fmla="*/ 30882 w 93884"/>
                <a:gd name="connsiteY10" fmla="*/ 78248 h 128960"/>
                <a:gd name="connsiteX11" fmla="*/ 20203 w 93884"/>
                <a:gd name="connsiteY11" fmla="*/ 128833 h 1289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884" h="128960">
                  <a:moveTo>
                    <a:pt x="-216" y="128833"/>
                  </a:moveTo>
                  <a:lnTo>
                    <a:pt x="26136" y="2724"/>
                  </a:lnTo>
                  <a:lnTo>
                    <a:pt x="45124" y="2724"/>
                  </a:lnTo>
                  <a:lnTo>
                    <a:pt x="39788" y="28492"/>
                  </a:lnTo>
                  <a:cubicBezTo>
                    <a:pt x="44898" y="20284"/>
                    <a:pt x="51340" y="12983"/>
                    <a:pt x="58836" y="6881"/>
                  </a:cubicBezTo>
                  <a:cubicBezTo>
                    <a:pt x="64234" y="2503"/>
                    <a:pt x="70935" y="38"/>
                    <a:pt x="77885" y="-128"/>
                  </a:cubicBezTo>
                  <a:cubicBezTo>
                    <a:pt x="83426" y="226"/>
                    <a:pt x="88818" y="1807"/>
                    <a:pt x="93669" y="4504"/>
                  </a:cubicBezTo>
                  <a:lnTo>
                    <a:pt x="84890" y="24452"/>
                  </a:lnTo>
                  <a:cubicBezTo>
                    <a:pt x="81354" y="21826"/>
                    <a:pt x="77067" y="20412"/>
                    <a:pt x="72664" y="20417"/>
                  </a:cubicBezTo>
                  <a:cubicBezTo>
                    <a:pt x="65140" y="20417"/>
                    <a:pt x="57422" y="24612"/>
                    <a:pt x="49516" y="33002"/>
                  </a:cubicBezTo>
                  <a:cubicBezTo>
                    <a:pt x="41611" y="41393"/>
                    <a:pt x="35396" y="56476"/>
                    <a:pt x="30882" y="78248"/>
                  </a:cubicBezTo>
                  <a:lnTo>
                    <a:pt x="20203" y="128833"/>
                  </a:lnTo>
                  <a:close/>
                </a:path>
              </a:pathLst>
            </a:custGeom>
            <a:solidFill>
              <a:srgbClr val="FFFFFF"/>
            </a:solidFill>
            <a:ln w="55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440020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xmlns="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97774281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4" y="6381328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5" y="6381328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3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3" y="6021388"/>
            <a:ext cx="9361117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/>
            </a:lvl1pPr>
            <a:lvl2pPr marL="192088" indent="0">
              <a:buNone/>
              <a:defRPr sz="800"/>
            </a:lvl2pPr>
            <a:lvl3pPr marL="361941" indent="0">
              <a:buNone/>
              <a:defRPr sz="800"/>
            </a:lvl3pPr>
            <a:lvl4pPr marL="1371566" indent="0">
              <a:buNone/>
              <a:defRPr sz="800"/>
            </a:lvl4pPr>
            <a:lvl5pPr marL="1828755" indent="0">
              <a:buNone/>
              <a:defRPr sz="8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310840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3793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30" y="1557340"/>
            <a:ext cx="5184775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311920" y="1557340"/>
            <a:ext cx="5186361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7" y="6381367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67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31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6021391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56" indent="0">
              <a:buNone/>
              <a:defRPr sz="600"/>
            </a:lvl2pPr>
            <a:lvl3pPr marL="271436" indent="0">
              <a:buNone/>
              <a:defRPr sz="600"/>
            </a:lvl3pPr>
            <a:lvl4pPr marL="1028598" indent="0">
              <a:buNone/>
              <a:defRPr sz="600"/>
            </a:lvl4pPr>
            <a:lvl5pPr marL="1371464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1073253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pos="4939">
          <p15:clr>
            <a:srgbClr val="FBAE40"/>
          </p15:clr>
        </p15:guide>
        <p15:guide id="2" pos="5301">
          <p15:clr>
            <a:srgbClr val="FBAE40"/>
          </p15:clr>
        </p15:guide>
        <p15:guide id="3" orient="horz" pos="505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30" y="1557340"/>
            <a:ext cx="5184775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311920" y="1557340"/>
            <a:ext cx="5186361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7" y="6381367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67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31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6021391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56" indent="0">
              <a:buNone/>
              <a:defRPr sz="600"/>
            </a:lvl2pPr>
            <a:lvl3pPr marL="271436" indent="0">
              <a:buNone/>
              <a:defRPr sz="600"/>
            </a:lvl3pPr>
            <a:lvl4pPr marL="1028598" indent="0">
              <a:buNone/>
              <a:defRPr sz="600"/>
            </a:lvl4pPr>
            <a:lvl5pPr marL="1371464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415785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pos="4939">
          <p15:clr>
            <a:srgbClr val="FBAE40"/>
          </p15:clr>
        </p15:guide>
        <p15:guide id="2" pos="5301">
          <p15:clr>
            <a:srgbClr val="FBAE40"/>
          </p15:clr>
        </p15:guide>
        <p15:guide id="3" orient="horz" pos="5057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30" y="1557340"/>
            <a:ext cx="5184775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311920" y="1557340"/>
            <a:ext cx="5186361" cy="4103687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7" y="6381367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67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31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4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6021391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56" indent="0">
              <a:buNone/>
              <a:defRPr sz="600"/>
            </a:lvl2pPr>
            <a:lvl3pPr marL="271436" indent="0">
              <a:buNone/>
              <a:defRPr sz="600"/>
            </a:lvl3pPr>
            <a:lvl4pPr marL="1028598" indent="0">
              <a:buNone/>
              <a:defRPr sz="600"/>
            </a:lvl4pPr>
            <a:lvl5pPr marL="1371464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131140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pos="4939">
          <p15:clr>
            <a:srgbClr val="FBAE40"/>
          </p15:clr>
        </p15:guide>
        <p15:guide id="2" pos="5301">
          <p15:clr>
            <a:srgbClr val="FBAE40"/>
          </p15:clr>
        </p15:guide>
        <p15:guide id="3" orient="horz" pos="505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image" Target="../media/image9.emf"/><Relationship Id="rId8" Type="http://schemas.openxmlformats.org/officeDocument/2006/relationships/slideLayout" Target="../slideLayouts/slideLayout4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85.xml"/><Relationship Id="rId34" Type="http://schemas.openxmlformats.org/officeDocument/2006/relationships/slideLayout" Target="../slideLayouts/slideLayout98.xml"/><Relationship Id="rId42" Type="http://schemas.openxmlformats.org/officeDocument/2006/relationships/oleObject" Target="../embeddings/oleObject2.bin"/><Relationship Id="rId7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37" Type="http://schemas.openxmlformats.org/officeDocument/2006/relationships/slideLayout" Target="../slideLayouts/slideLayout101.xml"/><Relationship Id="rId40" Type="http://schemas.openxmlformats.org/officeDocument/2006/relationships/vmlDrawing" Target="../drawings/vmlDrawing2.v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slideLayout" Target="../slideLayouts/slideLayout99.xml"/><Relationship Id="rId43" Type="http://schemas.openxmlformats.org/officeDocument/2006/relationships/image" Target="../media/image9.emf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slideLayout" Target="../slideLayouts/slideLayout97.xml"/><Relationship Id="rId38" Type="http://schemas.openxmlformats.org/officeDocument/2006/relationships/slideLayout" Target="../slideLayouts/slideLayout10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4"/>
            <a:ext cx="9200035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989138"/>
            <a:ext cx="11233150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4" y="6165850"/>
            <a:ext cx="9116215" cy="4667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6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xmlns="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0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xmlns="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225404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67" r:id="rId3"/>
    <p:sldLayoutId id="2147483668" r:id="rId4"/>
    <p:sldLayoutId id="2147483670" r:id="rId5"/>
    <p:sldLayoutId id="2147483671" r:id="rId6"/>
    <p:sldLayoutId id="2147483717" r:id="rId7"/>
    <p:sldLayoutId id="2147483718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711" r:id="rId14"/>
    <p:sldLayoutId id="2147483710" r:id="rId15"/>
    <p:sldLayoutId id="2147483651" r:id="rId16"/>
    <p:sldLayoutId id="2147483677" r:id="rId17"/>
    <p:sldLayoutId id="2147483650" r:id="rId18"/>
    <p:sldLayoutId id="2147483652" r:id="rId19"/>
    <p:sldLayoutId id="2147483678" r:id="rId20"/>
    <p:sldLayoutId id="2147483661" r:id="rId21"/>
    <p:sldLayoutId id="2147483712" r:id="rId22"/>
    <p:sldLayoutId id="2147483662" r:id="rId23"/>
    <p:sldLayoutId id="2147483713" r:id="rId24"/>
    <p:sldLayoutId id="2147483654" r:id="rId25"/>
    <p:sldLayoutId id="2147483655" r:id="rId26"/>
    <p:sldLayoutId id="2147483663" r:id="rId27"/>
    <p:sldLayoutId id="2147483666" r:id="rId28"/>
    <p:sldLayoutId id="2147483664" r:id="rId29"/>
    <p:sldLayoutId id="2147483665" r:id="rId30"/>
    <p:sldLayoutId id="2147483660" r:id="rId31"/>
    <p:sldLayoutId id="2147483714" r:id="rId32"/>
    <p:sldLayoutId id="2147483715" r:id="rId33"/>
    <p:sldLayoutId id="2147483716" r:id="rId3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253" userDrawn="1">
          <p15:clr>
            <a:srgbClr val="F26B43"/>
          </p15:clr>
        </p15:guide>
        <p15:guide id="2" orient="horz" pos="278" userDrawn="1">
          <p15:clr>
            <a:srgbClr val="F26B43"/>
          </p15:clr>
        </p15:guide>
        <p15:guide id="3" orient="horz" pos="686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7" pos="302" userDrawn="1">
          <p15:clr>
            <a:srgbClr val="F26B43"/>
          </p15:clr>
        </p15:guide>
        <p15:guide id="8" pos="7378" userDrawn="1">
          <p15:clr>
            <a:srgbClr val="F26B43"/>
          </p15:clr>
        </p15:guide>
        <p15:guide id="9" orient="horz" pos="4178" userDrawn="1">
          <p15:clr>
            <a:srgbClr val="F26B43"/>
          </p15:clr>
        </p15:guide>
        <p15:guide id="10" orient="horz" pos="404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04275D1-8B35-41E6-9835-DCDF09047A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35557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34" imgW="498" imgH="499" progId="TCLayout.ActiveDocument.1">
                  <p:embed/>
                </p:oleObj>
              </mc:Choice>
              <mc:Fallback>
                <p:oleObj name="think-cell Slide" r:id="rId3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F04275D1-8B35-41E6-9835-DCDF09047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9200035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989138"/>
            <a:ext cx="11233150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4" y="6416675"/>
            <a:ext cx="9116215" cy="215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6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xmlns="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0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xmlns="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2279665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  <p:sldLayoutId id="2147483745" r:id="rId26"/>
    <p:sldLayoutId id="2147483746" r:id="rId27"/>
    <p:sldLayoutId id="2147483747" r:id="rId28"/>
    <p:sldLayoutId id="2147483748" r:id="rId29"/>
    <p:sldLayoutId id="2147483749" r:id="rId3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253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3884">
          <p15:clr>
            <a:srgbClr val="F26B43"/>
          </p15:clr>
        </p15:guide>
        <p15:guide id="7" pos="302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orient="horz" pos="404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F04275D1-8B35-41E6-9835-DCDF09047A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814247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2" imgW="498" imgH="499" progId="TCLayout.ActiveDocument.1">
                  <p:embed/>
                </p:oleObj>
              </mc:Choice>
              <mc:Fallback>
                <p:oleObj name="think-cell Slide" r:id="rId42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F04275D1-8B35-41E6-9835-DCDF09047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9200035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989138"/>
            <a:ext cx="11233150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4" y="6416675"/>
            <a:ext cx="9116215" cy="215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6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xmlns="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0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xmlns="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xmlns="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xmlns="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xmlns="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xmlns="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xmlns="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36521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  <p:sldLayoutId id="2147483776" r:id="rId26"/>
    <p:sldLayoutId id="2147483777" r:id="rId27"/>
    <p:sldLayoutId id="2147483778" r:id="rId28"/>
    <p:sldLayoutId id="2147483779" r:id="rId29"/>
    <p:sldLayoutId id="2147483780" r:id="rId30"/>
    <p:sldLayoutId id="2147483781" r:id="rId31"/>
    <p:sldLayoutId id="2147483782" r:id="rId32"/>
    <p:sldLayoutId id="2147483783" r:id="rId33"/>
    <p:sldLayoutId id="2147483784" r:id="rId34"/>
    <p:sldLayoutId id="2147483785" r:id="rId35"/>
    <p:sldLayoutId id="2147483786" r:id="rId36"/>
    <p:sldLayoutId id="2147483787" r:id="rId37"/>
    <p:sldLayoutId id="2147483788" r:id="rId3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orient="horz" pos="1253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3884">
          <p15:clr>
            <a:srgbClr val="F26B43"/>
          </p15:clr>
        </p15:guide>
        <p15:guide id="7" pos="302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4178">
          <p15:clr>
            <a:srgbClr val="F26B43"/>
          </p15:clr>
        </p15:guide>
        <p15:guide id="10" orient="horz" pos="404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7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3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0.xml"/><Relationship Id="rId4" Type="http://schemas.openxmlformats.org/officeDocument/2006/relationships/image" Target="../media/image44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7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9.xml"/><Relationship Id="rId7" Type="http://schemas.openxmlformats.org/officeDocument/2006/relationships/image" Target="../media/image17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8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11.xml"/><Relationship Id="rId7" Type="http://schemas.openxmlformats.org/officeDocument/2006/relationships/image" Target="../media/image17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81.xml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3.xml"/><Relationship Id="rId7" Type="http://schemas.openxmlformats.org/officeDocument/2006/relationships/image" Target="../media/image3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95.xml"/><Relationship Id="rId7" Type="http://schemas.openxmlformats.org/officeDocument/2006/relationships/image" Target="../media/image33.jp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6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35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E43FF35-3FEB-4CDB-8C2A-BE9ED95F1D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DE43FF35-3FEB-4CDB-8C2A-BE9ED95F1D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8117538D-6020-44C3-8EF7-6F6EAD4F70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var Display Hydro" panose="00000500000000000000" pitchFamily="50" charset="0"/>
              <a:ea typeface="+mn-ea"/>
              <a:cs typeface="+mn-cs"/>
              <a:sym typeface="Ivar Display Hydro" panose="00000500000000000000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7391AD19-D819-4CB0-A336-68050C82CA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nb-NO" dirty="0"/>
              <a:t>Med full fart inn i framtiden </a:t>
            </a:r>
            <a:br>
              <a:rPr lang="nb-NO" dirty="0"/>
            </a:br>
            <a:r>
              <a:rPr lang="nb-NO" sz="3600" dirty="0"/>
              <a:t>Hydro inngår avtale om å selge Rolling</a:t>
            </a:r>
            <a:r>
              <a:rPr lang="nb-NO" sz="1600" dirty="0"/>
              <a:t> </a:t>
            </a:r>
            <a:endParaRPr lang="nb-NO" sz="36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50FA8D1-4090-42F5-A771-ACCA34B1FC1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6. april 2021</a:t>
            </a:r>
          </a:p>
          <a:p>
            <a:r>
              <a:rPr lang="nb-NO" dirty="0"/>
              <a:t>Presentasjon for Holmestrand </a:t>
            </a:r>
            <a:r>
              <a:rPr lang="nb-NO" dirty="0" err="1"/>
              <a:t>Rotary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249335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55337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dirty="0" err="1"/>
              <a:t>Karm</a:t>
            </a:r>
            <a:r>
              <a:rPr lang="en-GB" altLang="de-DE" dirty="0" err="1">
                <a:cs typeface="Arial"/>
              </a:rPr>
              <a:t>ö</a:t>
            </a:r>
            <a:r>
              <a:rPr lang="en-GB" altLang="de-DE" dirty="0" err="1"/>
              <a:t>y</a:t>
            </a:r>
            <a:r>
              <a:rPr lang="en-GB" altLang="de-DE" dirty="0"/>
              <a:t> (Norway)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45494" y="1553836"/>
            <a:ext cx="3762474" cy="4106252"/>
          </a:xfrm>
        </p:spPr>
        <p:txBody>
          <a:bodyPr>
            <a:spAutoFit/>
          </a:bodyPr>
          <a:lstStyle/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Workforce: 240 (Rolled Products)*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Founded: 1968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Processes up to 80-90,000 tonnes of aluminium a year</a:t>
            </a:r>
          </a:p>
          <a:p>
            <a:pPr marL="180975" lvl="1" indent="-179388">
              <a:spcBef>
                <a:spcPts val="6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dirty="0">
                <a:solidFill>
                  <a:prstClr val="black"/>
                </a:solidFill>
              </a:rPr>
              <a:t>Production</a:t>
            </a:r>
          </a:p>
          <a:p>
            <a:pPr marL="457200" lvl="1" indent="-179388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Continuous casting</a:t>
            </a:r>
          </a:p>
          <a:p>
            <a:pPr marL="457200" lvl="1" indent="-179388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Cold rolling</a:t>
            </a:r>
          </a:p>
          <a:p>
            <a:pPr marL="457200" lvl="1" indent="-179388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Finishing lines</a:t>
            </a:r>
          </a:p>
          <a:p>
            <a:pPr marL="638175" lvl="2" indent="-179388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endParaRPr lang="en-GB" sz="1400" dirty="0">
              <a:solidFill>
                <a:prstClr val="black"/>
              </a:solidFill>
            </a:endParaRPr>
          </a:p>
          <a:p>
            <a:pPr marL="166688" indent="-150813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400" dirty="0">
                <a:solidFill>
                  <a:prstClr val="black"/>
                </a:solidFill>
              </a:rPr>
              <a:t>Products</a:t>
            </a:r>
          </a:p>
          <a:p>
            <a:pPr marL="457200" lvl="1" indent="-179388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 General Engineering</a:t>
            </a:r>
          </a:p>
          <a:p>
            <a:pPr marL="858838" lvl="3" indent="-166688" defTabSz="346075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 Standard</a:t>
            </a:r>
          </a:p>
          <a:p>
            <a:pPr marL="858838" lvl="3" indent="-166688" defTabSz="346075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 </a:t>
            </a:r>
            <a:r>
              <a:rPr lang="en-GB" sz="1300" dirty="0" err="1">
                <a:solidFill>
                  <a:prstClr val="black"/>
                </a:solidFill>
              </a:rPr>
              <a:t>Trafo</a:t>
            </a:r>
            <a:endParaRPr lang="en-GB" sz="1300" dirty="0">
              <a:solidFill>
                <a:prstClr val="black"/>
              </a:solidFill>
            </a:endParaRPr>
          </a:p>
          <a:p>
            <a:pPr marL="858838" lvl="3" indent="-166688" defTabSz="346075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 </a:t>
            </a:r>
            <a:r>
              <a:rPr lang="en-GB" sz="1300" dirty="0" err="1">
                <a:solidFill>
                  <a:prstClr val="black"/>
                </a:solidFill>
              </a:rPr>
              <a:t>Paintstock</a:t>
            </a:r>
            <a:r>
              <a:rPr lang="en-GB" sz="1300" dirty="0">
                <a:solidFill>
                  <a:prstClr val="black"/>
                </a:solidFill>
              </a:rPr>
              <a:t> (external/internal)</a:t>
            </a:r>
          </a:p>
          <a:p>
            <a:pPr marL="457200" lvl="1" indent="-179388">
              <a:spcBef>
                <a:spcPts val="6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 Automotive standards (heat shields)</a:t>
            </a:r>
          </a:p>
          <a:p>
            <a:endParaRPr lang="en-GB" sz="1400" dirty="0"/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39" t="3317" b="8224"/>
          <a:stretch/>
        </p:blipFill>
        <p:spPr>
          <a:xfrm>
            <a:off x="5675717" y="1940052"/>
            <a:ext cx="4417609" cy="2934012"/>
          </a:xfr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207195-2462-45BD-B99E-FC66489894B8}" type="slidenum">
              <a:rPr lang="en-GB" smtClean="0">
                <a:solidFill>
                  <a:srgbClr val="999999"/>
                </a:solidFill>
              </a:rPr>
              <a:pPr/>
              <a:t>11</a:t>
            </a:fld>
            <a:endParaRPr lang="en-GB">
              <a:solidFill>
                <a:srgbClr val="999999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2099444" y="973547"/>
            <a:ext cx="8101013" cy="288032"/>
          </a:xfrm>
        </p:spPr>
        <p:txBody>
          <a:bodyPr/>
          <a:lstStyle/>
          <a:p>
            <a:r>
              <a:rPr lang="en-GB" sz="1350" dirty="0"/>
              <a:t>On the same site as </a:t>
            </a:r>
            <a:r>
              <a:rPr lang="en-GB" sz="1350" dirty="0" err="1"/>
              <a:t>Karmöy</a:t>
            </a:r>
            <a:r>
              <a:rPr lang="en-GB" sz="1350" dirty="0"/>
              <a:t> primary plan and </a:t>
            </a:r>
            <a:r>
              <a:rPr lang="en-GB" sz="1350" dirty="0" err="1"/>
              <a:t>Karmöy</a:t>
            </a:r>
            <a:r>
              <a:rPr lang="en-GB" sz="1350" dirty="0"/>
              <a:t> R&amp;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* </a:t>
            </a:r>
            <a:r>
              <a:rPr lang="en-GB" dirty="0" err="1"/>
              <a:t>Karmøy</a:t>
            </a:r>
            <a:r>
              <a:rPr lang="en-GB" dirty="0"/>
              <a:t> mainly is a site of Hydro´s Primary Metal business area</a:t>
            </a:r>
          </a:p>
          <a:p>
            <a:endParaRPr lang="en-GB" dirty="0"/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5675716" y="625783"/>
            <a:ext cx="4497388" cy="3041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/>
          <a:lstStyle/>
          <a:p>
            <a:pPr marL="180975" lvl="1" indent="-179388">
              <a:spcBef>
                <a:spcPct val="10000"/>
              </a:spcBef>
              <a:spcAft>
                <a:spcPct val="15000"/>
              </a:spcAft>
              <a:buClr>
                <a:srgbClr val="99CC00"/>
              </a:buClr>
              <a:buSzPct val="120000"/>
              <a:buFontTx/>
              <a:buChar char="•"/>
              <a:defRPr/>
            </a:pPr>
            <a:endParaRPr lang="en-GB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572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dirty="0" err="1"/>
              <a:t>Holmestrand</a:t>
            </a:r>
            <a:r>
              <a:rPr lang="en-GB" altLang="de-DE" dirty="0"/>
              <a:t> (Norway)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63553" y="1556792"/>
            <a:ext cx="3816423" cy="4381456"/>
          </a:xfrm>
        </p:spPr>
        <p:txBody>
          <a:bodyPr wrap="square">
            <a:spAutoFit/>
          </a:bodyPr>
          <a:lstStyle/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Workforce: 430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Founded 1917</a:t>
            </a:r>
            <a:endParaRPr lang="en-GB" sz="1400" dirty="0">
              <a:solidFill>
                <a:prstClr val="black"/>
              </a:solidFill>
              <a:cs typeface="Arial" pitchFamily="34" charset="0"/>
            </a:endParaRP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Capacity: 90,000 tonnes of aluminium a year</a:t>
            </a:r>
          </a:p>
          <a:p>
            <a:pPr marL="568325" lvl="1" indent="-222250">
              <a:spcBef>
                <a:spcPts val="200"/>
              </a:spcBef>
              <a:buSzPct val="120000"/>
              <a:buFontTx/>
              <a:buChar char="•"/>
            </a:pPr>
            <a:r>
              <a:rPr lang="en-GB" sz="1300" dirty="0">
                <a:solidFill>
                  <a:prstClr val="black"/>
                </a:solidFill>
              </a:rPr>
              <a:t>Hot rolling</a:t>
            </a:r>
          </a:p>
          <a:p>
            <a:pPr marL="568325" lvl="1" indent="-222250">
              <a:spcBef>
                <a:spcPts val="200"/>
              </a:spcBef>
              <a:buSzPct val="120000"/>
              <a:buFontTx/>
              <a:buChar char="•"/>
            </a:pPr>
            <a:r>
              <a:rPr lang="en-GB" sz="1300" dirty="0">
                <a:solidFill>
                  <a:prstClr val="black"/>
                </a:solidFill>
              </a:rPr>
              <a:t>Cold rolling</a:t>
            </a:r>
          </a:p>
          <a:p>
            <a:pPr marL="568325" lvl="1" indent="-222250">
              <a:spcBef>
                <a:spcPts val="200"/>
              </a:spcBef>
              <a:buSzPct val="120000"/>
              <a:buFontTx/>
              <a:buChar char="•"/>
            </a:pPr>
            <a:r>
              <a:rPr lang="en-GB" sz="1300" dirty="0">
                <a:solidFill>
                  <a:prstClr val="black"/>
                </a:solidFill>
              </a:rPr>
              <a:t>Finishing lines</a:t>
            </a:r>
          </a:p>
          <a:p>
            <a:pPr marL="179384" indent="-179384">
              <a:spcBef>
                <a:spcPct val="50000"/>
              </a:spcBef>
              <a:buSzPct val="120000"/>
              <a:buFontTx/>
              <a:buChar char="•"/>
            </a:pPr>
            <a:r>
              <a:rPr lang="en-GB" sz="1400" dirty="0">
                <a:solidFill>
                  <a:prstClr val="black"/>
                </a:solidFill>
                <a:cs typeface="Arial" pitchFamily="34" charset="0"/>
              </a:rPr>
              <a:t>Lacquering plant, founded in 1948</a:t>
            </a:r>
          </a:p>
          <a:p>
            <a:pPr marL="568325" lvl="1" indent="-277813">
              <a:spcBef>
                <a:spcPts val="300"/>
              </a:spcBef>
              <a:spcAft>
                <a:spcPts val="600"/>
              </a:spcAft>
              <a:buSzPct val="120000"/>
              <a:buFontTx/>
              <a:buChar char="•"/>
            </a:pPr>
            <a:r>
              <a:rPr lang="en-GB" sz="1300" dirty="0"/>
              <a:t>Lacquering capacity: 60,000 tonnes a year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Own </a:t>
            </a:r>
            <a:r>
              <a:rPr lang="en-GB" sz="1400" dirty="0" err="1"/>
              <a:t>casthouse</a:t>
            </a:r>
            <a:r>
              <a:rPr lang="en-GB" sz="1400" dirty="0"/>
              <a:t> </a:t>
            </a:r>
          </a:p>
          <a:p>
            <a:pPr marL="568325" lvl="1" indent="-222250">
              <a:spcBef>
                <a:spcPts val="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300" dirty="0"/>
              <a:t>Incl. re-melting furnace primarily for recycling scrap from processing and all beverage cans used in Norway</a:t>
            </a:r>
          </a:p>
          <a:p>
            <a:pPr marL="180975" lvl="1" indent="-179388">
              <a:spcBef>
                <a:spcPts val="1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dirty="0" err="1">
                <a:solidFill>
                  <a:prstClr val="black"/>
                </a:solidFill>
                <a:cs typeface="Arial" pitchFamily="34" charset="0"/>
              </a:rPr>
              <a:t>Paintstock</a:t>
            </a:r>
            <a:r>
              <a:rPr lang="en-GB" dirty="0">
                <a:solidFill>
                  <a:prstClr val="black"/>
                </a:solidFill>
                <a:cs typeface="Arial" pitchFamily="34" charset="0"/>
              </a:rPr>
              <a:t> supply from </a:t>
            </a:r>
            <a:r>
              <a:rPr lang="en-GB" dirty="0" err="1">
                <a:solidFill>
                  <a:prstClr val="black"/>
                </a:solidFill>
                <a:cs typeface="Arial" pitchFamily="34" charset="0"/>
              </a:rPr>
              <a:t>Karmøy</a:t>
            </a:r>
            <a:endParaRPr lang="en-GB" dirty="0">
              <a:solidFill>
                <a:prstClr val="black"/>
              </a:solidFill>
              <a:cs typeface="Arial" pitchFamily="34" charset="0"/>
            </a:endParaRPr>
          </a:p>
          <a:p>
            <a:pPr marL="180975" lvl="1" indent="-179388">
              <a:spcBef>
                <a:spcPts val="1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dirty="0">
                <a:solidFill>
                  <a:prstClr val="black"/>
                </a:solidFill>
                <a:cs typeface="Arial" pitchFamily="34" charset="0"/>
              </a:rPr>
              <a:t>Products</a:t>
            </a:r>
          </a:p>
          <a:p>
            <a:pPr marL="568325" lvl="2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Building Products</a:t>
            </a:r>
          </a:p>
          <a:p>
            <a:pPr marL="568325" lvl="2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General Engineering</a:t>
            </a:r>
          </a:p>
          <a:p>
            <a:pPr marL="568325" lvl="2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pitchFamily="34" charset="0"/>
              </a:rPr>
              <a:t>Food/Special Products</a:t>
            </a:r>
            <a:endParaRPr lang="en-GB" sz="130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207195-2462-45BD-B99E-FC66489894B8}" type="slidenum">
              <a:rPr lang="en-GB" smtClean="0">
                <a:solidFill>
                  <a:srgbClr val="999999"/>
                </a:solidFill>
              </a:rPr>
              <a:pPr/>
              <a:t>12</a:t>
            </a:fld>
            <a:endParaRPr lang="en-GB">
              <a:solidFill>
                <a:srgbClr val="999999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350" dirty="0"/>
              <a:t>Production facility with integrated lacquering line. Norway’s largest aluminium recycler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 descr="holmestrand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264" y="3997326"/>
            <a:ext cx="3932237" cy="167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 descr="Holmestrand plant aeria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264" y="1412876"/>
            <a:ext cx="3932237" cy="254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134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/>
              <a:t>Hamburg (Germany)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79794" y="1431088"/>
            <a:ext cx="3888581" cy="4632037"/>
          </a:xfrm>
        </p:spPr>
        <p:txBody>
          <a:bodyPr>
            <a:spAutoFit/>
          </a:bodyPr>
          <a:lstStyle/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Workforce: 660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Founded: 1972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165-170,000 tonnes of aluminium strip a year</a:t>
            </a:r>
          </a:p>
          <a:p>
            <a:pPr marL="568325" lvl="1" indent="-222250">
              <a:spcBef>
                <a:spcPts val="200"/>
              </a:spcBef>
              <a:buSzPct val="120000"/>
              <a:buFontTx/>
              <a:buChar char="•"/>
            </a:pPr>
            <a:r>
              <a:rPr lang="en-GB" sz="1300" dirty="0">
                <a:solidFill>
                  <a:prstClr val="black"/>
                </a:solidFill>
              </a:rPr>
              <a:t>Hot rolling</a:t>
            </a:r>
          </a:p>
          <a:p>
            <a:pPr marL="568325" lvl="1" indent="-222250">
              <a:spcBef>
                <a:spcPts val="200"/>
              </a:spcBef>
              <a:buSzPct val="120000"/>
              <a:buFontTx/>
              <a:buChar char="•"/>
            </a:pPr>
            <a:r>
              <a:rPr lang="en-GB" sz="1300" dirty="0">
                <a:solidFill>
                  <a:prstClr val="black"/>
                </a:solidFill>
              </a:rPr>
              <a:t>Cold rolling</a:t>
            </a:r>
          </a:p>
          <a:p>
            <a:pPr marL="568325" lvl="1" indent="-222250">
              <a:spcBef>
                <a:spcPts val="200"/>
              </a:spcBef>
              <a:buSzPct val="120000"/>
              <a:buFontTx/>
              <a:buChar char="•"/>
            </a:pPr>
            <a:r>
              <a:rPr lang="en-GB" sz="1300" dirty="0">
                <a:solidFill>
                  <a:prstClr val="black"/>
                </a:solidFill>
              </a:rPr>
              <a:t>Finishing lines</a:t>
            </a:r>
          </a:p>
          <a:p>
            <a:pPr marL="179384" indent="-179384">
              <a:spcBef>
                <a:spcPts val="12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Since 1975: Integrated sheet ingot </a:t>
            </a:r>
            <a:r>
              <a:rPr lang="en-GB" sz="1400" dirty="0" err="1"/>
              <a:t>casthouse</a:t>
            </a:r>
            <a:endParaRPr lang="en-GB" sz="1400" dirty="0"/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Liquid supply to </a:t>
            </a:r>
            <a:r>
              <a:rPr lang="en-GB" sz="1400" dirty="0" err="1"/>
              <a:t>casthouse</a:t>
            </a:r>
            <a:r>
              <a:rPr lang="en-GB" sz="1400" dirty="0"/>
              <a:t> from wall-to-wall external primary smelter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Since late 2008: integrated recycling for scrap from processing and from used products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>
                <a:solidFill>
                  <a:prstClr val="black"/>
                </a:solidFill>
              </a:rPr>
              <a:t>Products</a:t>
            </a:r>
          </a:p>
          <a:p>
            <a:pPr marL="568325" lvl="3" indent="-166688"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</a:rPr>
              <a:t> </a:t>
            </a:r>
            <a:r>
              <a:rPr lang="en-GB" sz="1300" dirty="0"/>
              <a:t>General Engineering</a:t>
            </a:r>
          </a:p>
          <a:p>
            <a:pPr marL="568325" lvl="3" indent="-166688"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/>
              <a:t> Heat Exchanger </a:t>
            </a:r>
          </a:p>
          <a:p>
            <a:pPr marL="568325" lvl="3" indent="-166688"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/>
              <a:t> Automotive Strip </a:t>
            </a:r>
          </a:p>
          <a:p>
            <a:pPr marL="568325" lvl="3" indent="-166688">
              <a:spcBef>
                <a:spcPts val="600"/>
              </a:spcBef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/>
              <a:t> Special Products</a:t>
            </a:r>
            <a:endParaRPr lang="en-GB" altLang="de-DE" sz="1300" dirty="0"/>
          </a:p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207195-2462-45BD-B99E-FC66489894B8}" type="slidenum">
              <a:rPr lang="en-GB" smtClean="0">
                <a:solidFill>
                  <a:srgbClr val="999999"/>
                </a:solidFill>
              </a:rPr>
              <a:pPr/>
              <a:t>13</a:t>
            </a:fld>
            <a:endParaRPr lang="en-GB">
              <a:solidFill>
                <a:srgbClr val="999999"/>
              </a:solidFill>
            </a:endParaRPr>
          </a:p>
        </p:txBody>
      </p:sp>
      <p:pic>
        <p:nvPicPr>
          <p:cNvPr id="9" name="Picture 10" descr="HydroHamburg-aerialview"/>
          <p:cNvPicPr>
            <a:picLocks noGrp="1" noChangeAspect="1" noChangeArrowheads="1"/>
          </p:cNvPicPr>
          <p:nvPr>
            <p:ph idx="14"/>
          </p:nvPr>
        </p:nvPicPr>
        <p:blipFill rotWithShape="1">
          <a:blip r:embed="rId3">
            <a:lum brigh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47" b="4329"/>
          <a:stretch/>
        </p:blipFill>
        <p:spPr bwMode="auto">
          <a:xfrm>
            <a:off x="6258000" y="2131651"/>
            <a:ext cx="3888000" cy="2585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7351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/>
              <a:t>Rheinwerk, Neuss (Germany)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75648" y="2118017"/>
            <a:ext cx="3588305" cy="2930802"/>
          </a:xfrm>
        </p:spPr>
        <p:txBody>
          <a:bodyPr wrap="square">
            <a:spAutoFit/>
          </a:bodyPr>
          <a:lstStyle/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Workforce: 750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Founded: 1962</a:t>
            </a:r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Primary smelter </a:t>
            </a:r>
            <a:r>
              <a:rPr lang="en-GB" sz="1400" dirty="0" err="1"/>
              <a:t>producings</a:t>
            </a:r>
            <a:r>
              <a:rPr lang="en-GB" sz="1400" dirty="0"/>
              <a:t> 230,000 tonnes of liquid aluminium from 2 </a:t>
            </a:r>
            <a:r>
              <a:rPr lang="en-GB" sz="1400" dirty="0" err="1"/>
              <a:t>potlines</a:t>
            </a:r>
            <a:endParaRPr lang="en-GB" sz="1400" dirty="0"/>
          </a:p>
          <a:p>
            <a:pPr marL="568325" lvl="1" indent="-166688">
              <a:spcBef>
                <a:spcPts val="3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300" dirty="0"/>
              <a:t>A third pot line is mothballed</a:t>
            </a:r>
          </a:p>
          <a:p>
            <a:pPr marL="179384" indent="-179384">
              <a:spcBef>
                <a:spcPts val="12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 err="1"/>
              <a:t>Casthouse</a:t>
            </a:r>
            <a:r>
              <a:rPr lang="en-GB" sz="1400" dirty="0"/>
              <a:t> producing sheet ingot from molten/liquefied aluminium</a:t>
            </a:r>
            <a:endParaRPr lang="en-GB" sz="1400" dirty="0">
              <a:solidFill>
                <a:srgbClr val="FF0000"/>
              </a:solidFill>
            </a:endParaRPr>
          </a:p>
          <a:p>
            <a:pPr marL="179384" indent="-179384">
              <a:spcBef>
                <a:spcPts val="12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Recycling</a:t>
            </a:r>
          </a:p>
          <a:p>
            <a:pPr marL="357184" lvl="1" indent="-179384">
              <a:spcBef>
                <a:spcPts val="3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300" dirty="0"/>
              <a:t>Recycling waste metal from processing (including lacquered aluminium)</a:t>
            </a:r>
          </a:p>
          <a:p>
            <a:pPr marL="357184" lvl="1" indent="-179384">
              <a:spcBef>
                <a:spcPts val="3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300" dirty="0"/>
              <a:t>UBC line recycling used beverage cans</a:t>
            </a:r>
          </a:p>
        </p:txBody>
      </p:sp>
      <p:pic>
        <p:nvPicPr>
          <p:cNvPr id="8" name="Inhaltsplatzhalter 7"/>
          <p:cNvPicPr>
            <a:picLocks noGrp="1" noChangeAspect="1"/>
          </p:cNvPicPr>
          <p:nvPr>
            <p:ph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47" t="11736" r="6301" b="-1"/>
          <a:stretch/>
        </p:blipFill>
        <p:spPr>
          <a:xfrm>
            <a:off x="5951985" y="2070897"/>
            <a:ext cx="4482047" cy="2977923"/>
          </a:xfr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207195-2462-45BD-B99E-FC66489894B8}" type="slidenum">
              <a:rPr lang="en-GB" smtClean="0">
                <a:solidFill>
                  <a:srgbClr val="999999"/>
                </a:solidFill>
              </a:rPr>
              <a:pPr/>
              <a:t>14</a:t>
            </a:fld>
            <a:endParaRPr lang="en-GB">
              <a:solidFill>
                <a:srgbClr val="999999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350" dirty="0"/>
              <a:t>Germany’s largest aluminium smelting plant</a:t>
            </a:r>
            <a:endParaRPr lang="en-GB" sz="135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69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dirty="0" err="1"/>
              <a:t>AluNorf</a:t>
            </a:r>
            <a:r>
              <a:rPr lang="en-GB" altLang="de-DE" dirty="0"/>
              <a:t>, Neuss (Germany)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91545" y="1645795"/>
            <a:ext cx="3888581" cy="2942857"/>
          </a:xfrm>
        </p:spPr>
        <p:txBody>
          <a:bodyPr>
            <a:spAutoFit/>
          </a:bodyPr>
          <a:lstStyle/>
          <a:p>
            <a:pPr marL="179384" indent="-179384">
              <a:spcAft>
                <a:spcPct val="15000"/>
              </a:spcAft>
              <a:buSzPct val="120000"/>
              <a:buFontTx/>
              <a:buChar char="•"/>
            </a:pPr>
            <a:r>
              <a:rPr lang="en-GB" altLang="de-DE" sz="1400" dirty="0"/>
              <a:t>Workforce: 2,300</a:t>
            </a:r>
          </a:p>
          <a:p>
            <a:pPr marL="179384" indent="-179384">
              <a:spcAft>
                <a:spcPct val="15000"/>
              </a:spcAft>
              <a:buSzPct val="120000"/>
              <a:buFontTx/>
              <a:buChar char="•"/>
            </a:pPr>
            <a:r>
              <a:rPr lang="en-GB" altLang="de-DE" sz="1400" dirty="0"/>
              <a:t>Founded: 1965</a:t>
            </a:r>
          </a:p>
          <a:p>
            <a:pPr marL="179384" indent="-179384">
              <a:spcAft>
                <a:spcPct val="15000"/>
              </a:spcAft>
              <a:buSzPct val="120000"/>
              <a:buFontTx/>
              <a:buChar char="•"/>
            </a:pPr>
            <a:r>
              <a:rPr lang="en-GB" altLang="de-DE" sz="1400" dirty="0"/>
              <a:t>50:50 joint venture</a:t>
            </a:r>
          </a:p>
          <a:p>
            <a:pPr marL="179384" indent="-179384"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Processes 1.5 million tonnes of aluminium a year</a:t>
            </a:r>
          </a:p>
          <a:p>
            <a:pPr marL="512763" lvl="1" indent="-166688">
              <a:spcBef>
                <a:spcPts val="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altLang="de-DE" sz="1200" dirty="0"/>
              <a:t>Hot rolling</a:t>
            </a:r>
          </a:p>
          <a:p>
            <a:pPr marL="512763" lvl="1" indent="-166688">
              <a:spcBef>
                <a:spcPts val="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altLang="de-DE" sz="1200" dirty="0"/>
              <a:t>Cold rolling</a:t>
            </a:r>
          </a:p>
          <a:p>
            <a:pPr marL="512763" lvl="1" indent="-166688">
              <a:spcBef>
                <a:spcPts val="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altLang="de-DE" sz="1200" dirty="0" err="1"/>
              <a:t>Casthouse</a:t>
            </a:r>
            <a:endParaRPr lang="en-GB" altLang="de-DE" sz="1200" dirty="0"/>
          </a:p>
          <a:p>
            <a:pPr marL="179384" indent="-179384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Own </a:t>
            </a:r>
            <a:r>
              <a:rPr lang="en-GB" sz="1400" dirty="0" err="1"/>
              <a:t>remelt</a:t>
            </a:r>
            <a:r>
              <a:rPr lang="en-GB" sz="1400" dirty="0"/>
              <a:t> </a:t>
            </a:r>
            <a:r>
              <a:rPr lang="en-GB" sz="1400" dirty="0" err="1"/>
              <a:t>casthouse</a:t>
            </a:r>
            <a:r>
              <a:rPr lang="en-GB" sz="1400" dirty="0"/>
              <a:t> + adjacent Rheinwerk smelter &amp;  </a:t>
            </a:r>
            <a:r>
              <a:rPr lang="en-GB" sz="1400" dirty="0" err="1"/>
              <a:t>casthouse</a:t>
            </a:r>
            <a:endParaRPr lang="en-GB" sz="1400" dirty="0"/>
          </a:p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207195-2462-45BD-B99E-FC66489894B8}" type="slidenum">
              <a:rPr lang="en-GB" smtClean="0">
                <a:solidFill>
                  <a:srgbClr val="999999"/>
                </a:solidFill>
              </a:rPr>
              <a:pPr/>
              <a:t>15</a:t>
            </a:fld>
            <a:endParaRPr lang="en-GB">
              <a:solidFill>
                <a:srgbClr val="999999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350" dirty="0"/>
              <a:t>World’s largest aluminium rolling and </a:t>
            </a:r>
            <a:r>
              <a:rPr lang="en-GB" sz="1350" dirty="0" err="1"/>
              <a:t>remelting</a:t>
            </a:r>
            <a:r>
              <a:rPr lang="en-GB" sz="1350" dirty="0"/>
              <a:t> plant</a:t>
            </a:r>
            <a:endParaRPr lang="en-GB" sz="1350" dirty="0">
              <a:solidFill>
                <a:srgbClr val="FF0000"/>
              </a:solidFill>
            </a:endParaRPr>
          </a:p>
        </p:txBody>
      </p:sp>
      <p:pic>
        <p:nvPicPr>
          <p:cNvPr id="11" name="Inhaltsplatzhalter 10"/>
          <p:cNvPicPr preferRelativeResize="0">
            <a:picLocks noGrp="1"/>
          </p:cNvPicPr>
          <p:nvPr>
            <p:ph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65" r="18" b="-2"/>
          <a:stretch/>
        </p:blipFill>
        <p:spPr>
          <a:xfrm>
            <a:off x="6257927" y="2130426"/>
            <a:ext cx="3889375" cy="2582938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5946775" y="1531938"/>
            <a:ext cx="4705350" cy="28623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txBody>
          <a:bodyPr lIns="0">
            <a:spAutoFit/>
          </a:bodyPr>
          <a:lstStyle/>
          <a:p>
            <a:pPr marL="190500" lvl="1" fontAlgn="base">
              <a:lnSpc>
                <a:spcPct val="90000"/>
              </a:lnSpc>
              <a:spcBef>
                <a:spcPct val="50000"/>
              </a:spcBef>
              <a:spcAft>
                <a:spcPct val="15000"/>
              </a:spcAft>
              <a:buClr>
                <a:srgbClr val="99CC00"/>
              </a:buClr>
              <a:buSzPct val="120000"/>
              <a:buFontTx/>
              <a:buChar char="•"/>
              <a:defRPr/>
            </a:pPr>
            <a:endParaRPr lang="en-GB" sz="1400" dirty="0">
              <a:solidFill>
                <a:prstClr val="black"/>
              </a:solidFill>
              <a:cs typeface="Arial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4277545" y="4297253"/>
            <a:ext cx="3141663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/>
          <a:lstStyle/>
          <a:p>
            <a:pPr marL="180975" lvl="1" indent="-179388" fontAlgn="base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400" dirty="0">
                <a:solidFill>
                  <a:prstClr val="black"/>
                </a:solidFill>
                <a:cs typeface="Arial" charset="0"/>
              </a:rPr>
              <a:t>End Products</a:t>
            </a:r>
          </a:p>
          <a:p>
            <a:pPr marL="357188" lvl="2" indent="-1746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Automotive Strip </a:t>
            </a:r>
          </a:p>
          <a:p>
            <a:pPr marL="357188" lvl="2" indent="-1746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Can Body</a:t>
            </a:r>
          </a:p>
          <a:p>
            <a:pPr marL="357188" lvl="2" indent="-1746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General Engineering</a:t>
            </a: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1991544" y="4297253"/>
            <a:ext cx="4572000" cy="1905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BC2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166688" indent="-166688" fontAlgn="base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400" dirty="0">
                <a:solidFill>
                  <a:prstClr val="black"/>
                </a:solidFill>
                <a:cs typeface="Arial" charset="0"/>
              </a:rPr>
              <a:t>Re-Roll for Cold Mills</a:t>
            </a:r>
          </a:p>
          <a:p>
            <a:pPr marL="568325" lvl="2" indent="-1873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Automotive Strip </a:t>
            </a:r>
          </a:p>
          <a:p>
            <a:pPr marL="568325" lvl="2" indent="-1873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Building Products </a:t>
            </a:r>
          </a:p>
          <a:p>
            <a:pPr marL="568325" lvl="2" indent="-1873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Can End</a:t>
            </a:r>
          </a:p>
          <a:p>
            <a:pPr marL="568325" lvl="2" indent="-1873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Foil</a:t>
            </a:r>
          </a:p>
          <a:p>
            <a:pPr marL="568325" lvl="2" indent="-1873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200" dirty="0">
                <a:solidFill>
                  <a:prstClr val="black"/>
                </a:solidFill>
                <a:cs typeface="Arial" pitchFamily="34" charset="0"/>
              </a:rPr>
              <a:t>Food/Special Products</a:t>
            </a:r>
          </a:p>
          <a:p>
            <a:pPr marL="568325" lvl="2" indent="-187325" fontAlgn="base"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200" dirty="0">
                <a:solidFill>
                  <a:prstClr val="black"/>
                </a:solidFill>
                <a:cs typeface="Arial" pitchFamily="34" charset="0"/>
              </a:rPr>
              <a:t>Lithographic Strip</a:t>
            </a:r>
          </a:p>
          <a:p>
            <a:pPr marL="568325" lvl="2" indent="-187325" fontAlgn="base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endParaRPr lang="en-GB" sz="1300" dirty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7425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/>
              <a:t>Grevenbroich (Germany)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48188" y="1484785"/>
            <a:ext cx="3409638" cy="4547399"/>
          </a:xfrm>
        </p:spPr>
        <p:txBody>
          <a:bodyPr wrap="square">
            <a:spAutoFit/>
          </a:bodyPr>
          <a:lstStyle/>
          <a:p>
            <a:pPr marL="177796" indent="-177796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Workforce: 2,000</a:t>
            </a:r>
          </a:p>
          <a:p>
            <a:pPr marL="177796" indent="-177796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Founded: 1917</a:t>
            </a:r>
          </a:p>
          <a:p>
            <a:pPr marL="177796" indent="-177796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Annual capacity: 530,000 tonnes of aluminium</a:t>
            </a:r>
          </a:p>
          <a:p>
            <a:pPr marL="177796" indent="-177796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>
                <a:solidFill>
                  <a:prstClr val="black"/>
                </a:solidFill>
                <a:cs typeface="Arial" charset="0"/>
              </a:rPr>
              <a:t>Re-roll supply from AluNorf</a:t>
            </a:r>
          </a:p>
          <a:p>
            <a:pPr marL="177796" indent="-177796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/>
              <a:t>Converts sheet ingot into aluminium strip and foils with thicknesses of between just 5</a:t>
            </a:r>
            <a:r>
              <a:rPr lang="en-GB" sz="1400" dirty="0">
                <a:cs typeface="Arial"/>
              </a:rPr>
              <a:t>µm and 3 mm</a:t>
            </a:r>
            <a:r>
              <a:rPr lang="en-GB" sz="1400" dirty="0"/>
              <a:t>, including lacquered and laminated qualities</a:t>
            </a:r>
          </a:p>
          <a:p>
            <a:pPr marL="177796" indent="-177796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sz="1400" dirty="0">
                <a:solidFill>
                  <a:prstClr val="black"/>
                </a:solidFill>
                <a:cs typeface="Arial" charset="0"/>
              </a:rPr>
              <a:t>Products</a:t>
            </a:r>
          </a:p>
          <a:p>
            <a:pPr marL="568325" lvl="3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tabLst>
                <a:tab pos="568325" algn="l"/>
              </a:tabLst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High-Performance Foil</a:t>
            </a:r>
          </a:p>
          <a:p>
            <a:pPr marL="568325" lvl="3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tabLst>
                <a:tab pos="568325" algn="l"/>
              </a:tabLst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Lithographic Strip </a:t>
            </a:r>
          </a:p>
          <a:p>
            <a:pPr marL="568325" lvl="3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tabLst>
                <a:tab pos="568325" algn="l"/>
              </a:tabLst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Automotive Strip </a:t>
            </a:r>
          </a:p>
          <a:p>
            <a:pPr marL="568325" lvl="3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tabLst>
                <a:tab pos="568325" algn="l"/>
              </a:tabLst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Can</a:t>
            </a:r>
          </a:p>
          <a:p>
            <a:pPr marL="568325" lvl="3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tabLst>
                <a:tab pos="568325" algn="l"/>
              </a:tabLst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Building Products</a:t>
            </a:r>
          </a:p>
          <a:p>
            <a:pPr marL="568325" lvl="3" indent="-222250"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tabLst>
                <a:tab pos="568325" algn="l"/>
              </a:tabLst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Food/Special Products</a:t>
            </a:r>
            <a:endParaRPr lang="en-GB" dirty="0"/>
          </a:p>
          <a:p>
            <a:pPr marL="177796" lvl="1" indent="-177796">
              <a:spcBef>
                <a:spcPct val="50000"/>
              </a:spcBef>
              <a:spcAft>
                <a:spcPct val="15000"/>
              </a:spcAft>
              <a:buSzPct val="120000"/>
              <a:buFontTx/>
              <a:buChar char="•"/>
            </a:pPr>
            <a:r>
              <a:rPr lang="en-GB" dirty="0"/>
              <a:t>Also Headquarters of Rolled Products business area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207195-2462-45BD-B99E-FC66489894B8}" type="slidenum">
              <a:rPr lang="en-GB" smtClean="0">
                <a:solidFill>
                  <a:srgbClr val="999999"/>
                </a:solidFill>
              </a:rPr>
              <a:pPr/>
              <a:t>16</a:t>
            </a:fld>
            <a:endParaRPr lang="en-GB">
              <a:solidFill>
                <a:srgbClr val="999999"/>
              </a:solidFill>
            </a:endParaRPr>
          </a:p>
        </p:txBody>
      </p:sp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775" y="4625976"/>
            <a:ext cx="1549400" cy="1165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7223125" y="4754528"/>
            <a:ext cx="3155950" cy="978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FBC2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190500" lvl="1" fontAlgn="base">
              <a:lnSpc>
                <a:spcPct val="90000"/>
              </a:lnSpc>
              <a:spcBef>
                <a:spcPct val="10000"/>
              </a:spcBef>
              <a:spcAft>
                <a:spcPct val="15000"/>
              </a:spcAft>
              <a:buClr>
                <a:srgbClr val="99CC00"/>
              </a:buClr>
              <a:buSzPct val="120000"/>
              <a:defRPr/>
            </a:pPr>
            <a:r>
              <a:rPr lang="en-GB" sz="1400" dirty="0">
                <a:solidFill>
                  <a:prstClr val="black"/>
                </a:solidFill>
                <a:cs typeface="Arial" charset="0"/>
              </a:rPr>
              <a:t>Dormagen </a:t>
            </a:r>
          </a:p>
          <a:p>
            <a:pPr marL="346075" lvl="1" indent="-179388" fontAlgn="base">
              <a:lnSpc>
                <a:spcPct val="90000"/>
              </a:lnSpc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Slitting Centre</a:t>
            </a:r>
          </a:p>
          <a:p>
            <a:pPr marL="346075" lvl="2" indent="-179388" fontAlgn="base">
              <a:lnSpc>
                <a:spcPct val="90000"/>
              </a:lnSpc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Founded in 1995</a:t>
            </a:r>
          </a:p>
          <a:p>
            <a:pPr marL="346075" lvl="2" indent="-179388" fontAlgn="base">
              <a:lnSpc>
                <a:spcPct val="90000"/>
              </a:lnSpc>
              <a:spcBef>
                <a:spcPct val="10000"/>
              </a:spcBef>
              <a:spcAft>
                <a:spcPct val="15000"/>
              </a:spcAft>
              <a:buClr>
                <a:schemeClr val="bg1">
                  <a:lumMod val="50000"/>
                </a:schemeClr>
              </a:buClr>
              <a:buSzPct val="120000"/>
              <a:buFontTx/>
              <a:buChar char="•"/>
              <a:defRPr/>
            </a:pPr>
            <a:r>
              <a:rPr lang="en-GB" sz="1300" dirty="0">
                <a:solidFill>
                  <a:prstClr val="black"/>
                </a:solidFill>
                <a:cs typeface="Arial" charset="0"/>
              </a:rPr>
              <a:t>About 30 employees</a:t>
            </a:r>
          </a:p>
        </p:txBody>
      </p:sp>
      <p:pic>
        <p:nvPicPr>
          <p:cNvPr id="15" name="Picture 7" descr="Grevenbroich plant 2007"/>
          <p:cNvPicPr>
            <a:picLocks noChangeAspect="1" noChangeArrowheads="1"/>
          </p:cNvPicPr>
          <p:nvPr/>
        </p:nvPicPr>
        <p:blipFill>
          <a:blip r:embed="rId4">
            <a:lum bright="16000" contrast="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776" y="1611314"/>
            <a:ext cx="4530725" cy="280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3331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Text Box 5"/>
          <p:cNvSpPr txBox="1">
            <a:spLocks noChangeArrowheads="1"/>
          </p:cNvSpPr>
          <p:nvPr/>
        </p:nvSpPr>
        <p:spPr bwMode="auto">
          <a:xfrm>
            <a:off x="2279786" y="5607287"/>
            <a:ext cx="1789661" cy="217963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19969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buClr>
                <a:srgbClr val="B5B1AA"/>
              </a:buClr>
              <a:buSzPct val="75000"/>
              <a:buFont typeface="Wingdings" pitchFamily="2" charset="2"/>
              <a:buNone/>
            </a:pPr>
            <a:r>
              <a:rPr lang="en-GB" sz="933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Sales offices</a:t>
            </a:r>
          </a:p>
        </p:txBody>
      </p:sp>
      <p:grpSp>
        <p:nvGrpSpPr>
          <p:cNvPr id="114" name="Gruppieren 113"/>
          <p:cNvGrpSpPr>
            <a:grpSpLocks noChangeAspect="1"/>
          </p:cNvGrpSpPr>
          <p:nvPr/>
        </p:nvGrpSpPr>
        <p:grpSpPr>
          <a:xfrm>
            <a:off x="2795566" y="1513517"/>
            <a:ext cx="5745535" cy="3979713"/>
            <a:chOff x="768795" y="1167594"/>
            <a:chExt cx="5139355" cy="3559836"/>
          </a:xfrm>
        </p:grpSpPr>
        <p:sp>
          <p:nvSpPr>
            <p:cNvPr id="115" name="Freeform 6"/>
            <p:cNvSpPr>
              <a:spLocks noChangeAspect="1"/>
            </p:cNvSpPr>
            <p:nvPr/>
          </p:nvSpPr>
          <p:spPr bwMode="auto">
            <a:xfrm>
              <a:off x="768795" y="2424093"/>
              <a:ext cx="804273" cy="1383940"/>
            </a:xfrm>
            <a:custGeom>
              <a:avLst/>
              <a:gdLst>
                <a:gd name="T0" fmla="*/ 11985 w 885"/>
                <a:gd name="T1" fmla="*/ 2446642 h 1415"/>
                <a:gd name="T2" fmla="*/ 11985 w 885"/>
                <a:gd name="T3" fmla="*/ 2446642 h 1415"/>
                <a:gd name="T4" fmla="*/ 11985 w 885"/>
                <a:gd name="T5" fmla="*/ 2446642 h 1415"/>
                <a:gd name="T6" fmla="*/ 11985 w 885"/>
                <a:gd name="T7" fmla="*/ 2446642 h 1415"/>
                <a:gd name="T8" fmla="*/ 11985 w 885"/>
                <a:gd name="T9" fmla="*/ 2446642 h 1415"/>
                <a:gd name="T10" fmla="*/ 11985 w 885"/>
                <a:gd name="T11" fmla="*/ 2446642 h 1415"/>
                <a:gd name="T12" fmla="*/ 11985 w 885"/>
                <a:gd name="T13" fmla="*/ 2446642 h 1415"/>
                <a:gd name="T14" fmla="*/ 11985 w 885"/>
                <a:gd name="T15" fmla="*/ 2446642 h 1415"/>
                <a:gd name="T16" fmla="*/ 11985 w 885"/>
                <a:gd name="T17" fmla="*/ 2446642 h 1415"/>
                <a:gd name="T18" fmla="*/ 11985 w 885"/>
                <a:gd name="T19" fmla="*/ 2446642 h 1415"/>
                <a:gd name="T20" fmla="*/ 11985 w 885"/>
                <a:gd name="T21" fmla="*/ 2446642 h 1415"/>
                <a:gd name="T22" fmla="*/ 11985 w 885"/>
                <a:gd name="T23" fmla="*/ 2446642 h 1415"/>
                <a:gd name="T24" fmla="*/ 11985 w 885"/>
                <a:gd name="T25" fmla="*/ 2446642 h 1415"/>
                <a:gd name="T26" fmla="*/ 11985 w 885"/>
                <a:gd name="T27" fmla="*/ 2446642 h 1415"/>
                <a:gd name="T28" fmla="*/ 11985 w 885"/>
                <a:gd name="T29" fmla="*/ 2446642 h 1415"/>
                <a:gd name="T30" fmla="*/ 11985 w 885"/>
                <a:gd name="T31" fmla="*/ 2446642 h 1415"/>
                <a:gd name="T32" fmla="*/ 11985 w 885"/>
                <a:gd name="T33" fmla="*/ 2446642 h 1415"/>
                <a:gd name="T34" fmla="*/ 11985 w 885"/>
                <a:gd name="T35" fmla="*/ 2446642 h 1415"/>
                <a:gd name="T36" fmla="*/ 11985 w 885"/>
                <a:gd name="T37" fmla="*/ 2446642 h 1415"/>
                <a:gd name="T38" fmla="*/ 11985 w 885"/>
                <a:gd name="T39" fmla="*/ 2446642 h 1415"/>
                <a:gd name="T40" fmla="*/ 11985 w 885"/>
                <a:gd name="T41" fmla="*/ 2446642 h 1415"/>
                <a:gd name="T42" fmla="*/ 11985 w 885"/>
                <a:gd name="T43" fmla="*/ 2446642 h 1415"/>
                <a:gd name="T44" fmla="*/ 11985 w 885"/>
                <a:gd name="T45" fmla="*/ 2446642 h 1415"/>
                <a:gd name="T46" fmla="*/ 11985 w 885"/>
                <a:gd name="T47" fmla="*/ 2446642 h 1415"/>
                <a:gd name="T48" fmla="*/ 11985 w 885"/>
                <a:gd name="T49" fmla="*/ 2446642 h 1415"/>
                <a:gd name="T50" fmla="*/ 11985 w 885"/>
                <a:gd name="T51" fmla="*/ 2446642 h 1415"/>
                <a:gd name="T52" fmla="*/ 11985 w 885"/>
                <a:gd name="T53" fmla="*/ 2446642 h 1415"/>
                <a:gd name="T54" fmla="*/ 11985 w 885"/>
                <a:gd name="T55" fmla="*/ 2446642 h 1415"/>
                <a:gd name="T56" fmla="*/ 11985 w 885"/>
                <a:gd name="T57" fmla="*/ 2446642 h 1415"/>
                <a:gd name="T58" fmla="*/ 11985 w 885"/>
                <a:gd name="T59" fmla="*/ 2446642 h 1415"/>
                <a:gd name="T60" fmla="*/ 11985 w 885"/>
                <a:gd name="T61" fmla="*/ 2446642 h 1415"/>
                <a:gd name="T62" fmla="*/ 11985 w 885"/>
                <a:gd name="T63" fmla="*/ 2446642 h 1415"/>
                <a:gd name="T64" fmla="*/ 11985 w 885"/>
                <a:gd name="T65" fmla="*/ 2446642 h 1415"/>
                <a:gd name="T66" fmla="*/ 11985 w 885"/>
                <a:gd name="T67" fmla="*/ 2446642 h 1415"/>
                <a:gd name="T68" fmla="*/ 11985 w 885"/>
                <a:gd name="T69" fmla="*/ 2446642 h 1415"/>
                <a:gd name="T70" fmla="*/ 11985 w 885"/>
                <a:gd name="T71" fmla="*/ 2446642 h 1415"/>
                <a:gd name="T72" fmla="*/ 11985 w 885"/>
                <a:gd name="T73" fmla="*/ 2446642 h 1415"/>
                <a:gd name="T74" fmla="*/ 11985 w 885"/>
                <a:gd name="T75" fmla="*/ 2446642 h 1415"/>
                <a:gd name="T76" fmla="*/ 11985 w 885"/>
                <a:gd name="T77" fmla="*/ 2446642 h 1415"/>
                <a:gd name="T78" fmla="*/ 11985 w 885"/>
                <a:gd name="T79" fmla="*/ 2446642 h 1415"/>
                <a:gd name="T80" fmla="*/ 11985 w 885"/>
                <a:gd name="T81" fmla="*/ 2446642 h 1415"/>
                <a:gd name="T82" fmla="*/ 11985 w 885"/>
                <a:gd name="T83" fmla="*/ 2446642 h 1415"/>
                <a:gd name="T84" fmla="*/ 11985 w 885"/>
                <a:gd name="T85" fmla="*/ 2446642 h 1415"/>
                <a:gd name="T86" fmla="*/ 11985 w 885"/>
                <a:gd name="T87" fmla="*/ 2446642 h 1415"/>
                <a:gd name="T88" fmla="*/ 11985 w 885"/>
                <a:gd name="T89" fmla="*/ 2446642 h 1415"/>
                <a:gd name="T90" fmla="*/ 11985 w 885"/>
                <a:gd name="T91" fmla="*/ 2446642 h 1415"/>
                <a:gd name="T92" fmla="*/ 11985 w 885"/>
                <a:gd name="T93" fmla="*/ 2446642 h 141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885" h="1415">
                  <a:moveTo>
                    <a:pt x="69" y="63"/>
                  </a:moveTo>
                  <a:lnTo>
                    <a:pt x="80" y="46"/>
                  </a:lnTo>
                  <a:lnTo>
                    <a:pt x="101" y="23"/>
                  </a:lnTo>
                  <a:lnTo>
                    <a:pt x="133" y="9"/>
                  </a:lnTo>
                  <a:lnTo>
                    <a:pt x="151" y="0"/>
                  </a:lnTo>
                  <a:lnTo>
                    <a:pt x="168" y="2"/>
                  </a:lnTo>
                  <a:lnTo>
                    <a:pt x="163" y="14"/>
                  </a:lnTo>
                  <a:lnTo>
                    <a:pt x="144" y="25"/>
                  </a:lnTo>
                  <a:lnTo>
                    <a:pt x="140" y="49"/>
                  </a:lnTo>
                  <a:lnTo>
                    <a:pt x="144" y="67"/>
                  </a:lnTo>
                  <a:lnTo>
                    <a:pt x="161" y="67"/>
                  </a:lnTo>
                  <a:lnTo>
                    <a:pt x="168" y="46"/>
                  </a:lnTo>
                  <a:lnTo>
                    <a:pt x="172" y="25"/>
                  </a:lnTo>
                  <a:lnTo>
                    <a:pt x="183" y="32"/>
                  </a:lnTo>
                  <a:lnTo>
                    <a:pt x="196" y="44"/>
                  </a:lnTo>
                  <a:lnTo>
                    <a:pt x="217" y="39"/>
                  </a:lnTo>
                  <a:lnTo>
                    <a:pt x="230" y="49"/>
                  </a:lnTo>
                  <a:lnTo>
                    <a:pt x="234" y="60"/>
                  </a:lnTo>
                  <a:lnTo>
                    <a:pt x="267" y="56"/>
                  </a:lnTo>
                  <a:lnTo>
                    <a:pt x="331" y="49"/>
                  </a:lnTo>
                  <a:lnTo>
                    <a:pt x="355" y="86"/>
                  </a:lnTo>
                  <a:lnTo>
                    <a:pt x="396" y="104"/>
                  </a:lnTo>
                  <a:lnTo>
                    <a:pt x="394" y="121"/>
                  </a:lnTo>
                  <a:lnTo>
                    <a:pt x="411" y="111"/>
                  </a:lnTo>
                  <a:lnTo>
                    <a:pt x="430" y="111"/>
                  </a:lnTo>
                  <a:lnTo>
                    <a:pt x="454" y="127"/>
                  </a:lnTo>
                  <a:lnTo>
                    <a:pt x="482" y="125"/>
                  </a:lnTo>
                  <a:lnTo>
                    <a:pt x="505" y="127"/>
                  </a:lnTo>
                  <a:lnTo>
                    <a:pt x="544" y="158"/>
                  </a:lnTo>
                  <a:lnTo>
                    <a:pt x="585" y="195"/>
                  </a:lnTo>
                  <a:lnTo>
                    <a:pt x="602" y="236"/>
                  </a:lnTo>
                  <a:lnTo>
                    <a:pt x="591" y="267"/>
                  </a:lnTo>
                  <a:lnTo>
                    <a:pt x="641" y="278"/>
                  </a:lnTo>
                  <a:lnTo>
                    <a:pt x="723" y="294"/>
                  </a:lnTo>
                  <a:lnTo>
                    <a:pt x="807" y="313"/>
                  </a:lnTo>
                  <a:lnTo>
                    <a:pt x="860" y="350"/>
                  </a:lnTo>
                  <a:lnTo>
                    <a:pt x="884" y="385"/>
                  </a:lnTo>
                  <a:lnTo>
                    <a:pt x="884" y="429"/>
                  </a:lnTo>
                  <a:lnTo>
                    <a:pt x="862" y="468"/>
                  </a:lnTo>
                  <a:lnTo>
                    <a:pt x="839" y="489"/>
                  </a:lnTo>
                  <a:lnTo>
                    <a:pt x="824" y="503"/>
                  </a:lnTo>
                  <a:lnTo>
                    <a:pt x="807" y="533"/>
                  </a:lnTo>
                  <a:lnTo>
                    <a:pt x="804" y="559"/>
                  </a:lnTo>
                  <a:lnTo>
                    <a:pt x="807" y="591"/>
                  </a:lnTo>
                  <a:lnTo>
                    <a:pt x="798" y="624"/>
                  </a:lnTo>
                  <a:lnTo>
                    <a:pt x="785" y="631"/>
                  </a:lnTo>
                  <a:lnTo>
                    <a:pt x="781" y="649"/>
                  </a:lnTo>
                  <a:lnTo>
                    <a:pt x="766" y="663"/>
                  </a:lnTo>
                  <a:lnTo>
                    <a:pt x="764" y="679"/>
                  </a:lnTo>
                  <a:lnTo>
                    <a:pt x="744" y="698"/>
                  </a:lnTo>
                  <a:lnTo>
                    <a:pt x="714" y="730"/>
                  </a:lnTo>
                  <a:lnTo>
                    <a:pt x="688" y="739"/>
                  </a:lnTo>
                  <a:lnTo>
                    <a:pt x="671" y="737"/>
                  </a:lnTo>
                  <a:lnTo>
                    <a:pt x="639" y="753"/>
                  </a:lnTo>
                  <a:lnTo>
                    <a:pt x="607" y="790"/>
                  </a:lnTo>
                  <a:lnTo>
                    <a:pt x="600" y="804"/>
                  </a:lnTo>
                  <a:lnTo>
                    <a:pt x="600" y="823"/>
                  </a:lnTo>
                  <a:lnTo>
                    <a:pt x="607" y="844"/>
                  </a:lnTo>
                  <a:lnTo>
                    <a:pt x="591" y="865"/>
                  </a:lnTo>
                  <a:lnTo>
                    <a:pt x="591" y="881"/>
                  </a:lnTo>
                  <a:lnTo>
                    <a:pt x="566" y="899"/>
                  </a:lnTo>
                  <a:lnTo>
                    <a:pt x="546" y="913"/>
                  </a:lnTo>
                  <a:lnTo>
                    <a:pt x="531" y="934"/>
                  </a:lnTo>
                  <a:lnTo>
                    <a:pt x="525" y="955"/>
                  </a:lnTo>
                  <a:lnTo>
                    <a:pt x="503" y="981"/>
                  </a:lnTo>
                  <a:lnTo>
                    <a:pt x="495" y="976"/>
                  </a:lnTo>
                  <a:lnTo>
                    <a:pt x="477" y="976"/>
                  </a:lnTo>
                  <a:lnTo>
                    <a:pt x="456" y="985"/>
                  </a:lnTo>
                  <a:lnTo>
                    <a:pt x="471" y="997"/>
                  </a:lnTo>
                  <a:lnTo>
                    <a:pt x="471" y="1020"/>
                  </a:lnTo>
                  <a:lnTo>
                    <a:pt x="469" y="1038"/>
                  </a:lnTo>
                  <a:lnTo>
                    <a:pt x="458" y="1052"/>
                  </a:lnTo>
                  <a:lnTo>
                    <a:pt x="430" y="1055"/>
                  </a:lnTo>
                  <a:lnTo>
                    <a:pt x="409" y="1062"/>
                  </a:lnTo>
                  <a:lnTo>
                    <a:pt x="398" y="1076"/>
                  </a:lnTo>
                  <a:lnTo>
                    <a:pt x="398" y="1099"/>
                  </a:lnTo>
                  <a:lnTo>
                    <a:pt x="372" y="1106"/>
                  </a:lnTo>
                  <a:lnTo>
                    <a:pt x="351" y="1099"/>
                  </a:lnTo>
                  <a:lnTo>
                    <a:pt x="344" y="1113"/>
                  </a:lnTo>
                  <a:lnTo>
                    <a:pt x="355" y="1122"/>
                  </a:lnTo>
                  <a:lnTo>
                    <a:pt x="348" y="1157"/>
                  </a:lnTo>
                  <a:lnTo>
                    <a:pt x="340" y="1187"/>
                  </a:lnTo>
                  <a:lnTo>
                    <a:pt x="312" y="1187"/>
                  </a:lnTo>
                  <a:lnTo>
                    <a:pt x="303" y="1198"/>
                  </a:lnTo>
                  <a:lnTo>
                    <a:pt x="305" y="1222"/>
                  </a:lnTo>
                  <a:lnTo>
                    <a:pt x="320" y="1222"/>
                  </a:lnTo>
                  <a:lnTo>
                    <a:pt x="331" y="1236"/>
                  </a:lnTo>
                  <a:lnTo>
                    <a:pt x="325" y="1259"/>
                  </a:lnTo>
                  <a:lnTo>
                    <a:pt x="310" y="1261"/>
                  </a:lnTo>
                  <a:lnTo>
                    <a:pt x="286" y="1270"/>
                  </a:lnTo>
                  <a:lnTo>
                    <a:pt x="280" y="1289"/>
                  </a:lnTo>
                  <a:lnTo>
                    <a:pt x="277" y="1317"/>
                  </a:lnTo>
                  <a:lnTo>
                    <a:pt x="262" y="1331"/>
                  </a:lnTo>
                  <a:lnTo>
                    <a:pt x="316" y="1377"/>
                  </a:lnTo>
                  <a:lnTo>
                    <a:pt x="331" y="1400"/>
                  </a:lnTo>
                  <a:lnTo>
                    <a:pt x="323" y="1414"/>
                  </a:lnTo>
                  <a:lnTo>
                    <a:pt x="299" y="1405"/>
                  </a:lnTo>
                  <a:lnTo>
                    <a:pt x="280" y="1386"/>
                  </a:lnTo>
                  <a:lnTo>
                    <a:pt x="252" y="1372"/>
                  </a:lnTo>
                  <a:lnTo>
                    <a:pt x="226" y="1349"/>
                  </a:lnTo>
                  <a:lnTo>
                    <a:pt x="209" y="1321"/>
                  </a:lnTo>
                  <a:lnTo>
                    <a:pt x="206" y="1298"/>
                  </a:lnTo>
                  <a:lnTo>
                    <a:pt x="211" y="1280"/>
                  </a:lnTo>
                  <a:lnTo>
                    <a:pt x="209" y="1129"/>
                  </a:lnTo>
                  <a:lnTo>
                    <a:pt x="202" y="1099"/>
                  </a:lnTo>
                  <a:lnTo>
                    <a:pt x="183" y="1071"/>
                  </a:lnTo>
                  <a:lnTo>
                    <a:pt x="183" y="1045"/>
                  </a:lnTo>
                  <a:lnTo>
                    <a:pt x="196" y="1015"/>
                  </a:lnTo>
                  <a:lnTo>
                    <a:pt x="206" y="978"/>
                  </a:lnTo>
                  <a:lnTo>
                    <a:pt x="202" y="941"/>
                  </a:lnTo>
                  <a:lnTo>
                    <a:pt x="200" y="925"/>
                  </a:lnTo>
                  <a:lnTo>
                    <a:pt x="198" y="904"/>
                  </a:lnTo>
                  <a:lnTo>
                    <a:pt x="204" y="895"/>
                  </a:lnTo>
                  <a:lnTo>
                    <a:pt x="209" y="853"/>
                  </a:lnTo>
                  <a:lnTo>
                    <a:pt x="204" y="832"/>
                  </a:lnTo>
                  <a:lnTo>
                    <a:pt x="213" y="781"/>
                  </a:lnTo>
                  <a:lnTo>
                    <a:pt x="204" y="737"/>
                  </a:lnTo>
                  <a:lnTo>
                    <a:pt x="211" y="714"/>
                  </a:lnTo>
                  <a:lnTo>
                    <a:pt x="222" y="670"/>
                  </a:lnTo>
                  <a:lnTo>
                    <a:pt x="211" y="642"/>
                  </a:lnTo>
                  <a:lnTo>
                    <a:pt x="189" y="621"/>
                  </a:lnTo>
                  <a:lnTo>
                    <a:pt x="183" y="598"/>
                  </a:lnTo>
                  <a:lnTo>
                    <a:pt x="159" y="577"/>
                  </a:lnTo>
                  <a:lnTo>
                    <a:pt x="133" y="563"/>
                  </a:lnTo>
                  <a:lnTo>
                    <a:pt x="97" y="556"/>
                  </a:lnTo>
                  <a:lnTo>
                    <a:pt x="80" y="524"/>
                  </a:lnTo>
                  <a:lnTo>
                    <a:pt x="56" y="494"/>
                  </a:lnTo>
                  <a:lnTo>
                    <a:pt x="54" y="468"/>
                  </a:lnTo>
                  <a:lnTo>
                    <a:pt x="52" y="445"/>
                  </a:lnTo>
                  <a:lnTo>
                    <a:pt x="45" y="429"/>
                  </a:lnTo>
                  <a:lnTo>
                    <a:pt x="32" y="410"/>
                  </a:lnTo>
                  <a:lnTo>
                    <a:pt x="15" y="401"/>
                  </a:lnTo>
                  <a:lnTo>
                    <a:pt x="2" y="382"/>
                  </a:lnTo>
                  <a:lnTo>
                    <a:pt x="17" y="366"/>
                  </a:lnTo>
                  <a:lnTo>
                    <a:pt x="17" y="327"/>
                  </a:lnTo>
                  <a:lnTo>
                    <a:pt x="9" y="306"/>
                  </a:lnTo>
                  <a:lnTo>
                    <a:pt x="0" y="285"/>
                  </a:lnTo>
                  <a:lnTo>
                    <a:pt x="9" y="255"/>
                  </a:lnTo>
                  <a:lnTo>
                    <a:pt x="43" y="183"/>
                  </a:lnTo>
                  <a:lnTo>
                    <a:pt x="45" y="151"/>
                  </a:lnTo>
                  <a:lnTo>
                    <a:pt x="65" y="116"/>
                  </a:lnTo>
                  <a:lnTo>
                    <a:pt x="65" y="97"/>
                  </a:lnTo>
                  <a:lnTo>
                    <a:pt x="69" y="63"/>
                  </a:lnTo>
                </a:path>
              </a:pathLst>
            </a:cu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6" name="Oval 7"/>
            <p:cNvSpPr>
              <a:spLocks noChangeAspect="1" noChangeArrowheads="1"/>
            </p:cNvSpPr>
            <p:nvPr/>
          </p:nvSpPr>
          <p:spPr bwMode="auto">
            <a:xfrm>
              <a:off x="1288445" y="3035121"/>
              <a:ext cx="107972" cy="1079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hlink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19969" anchor="ctr"/>
            <a:lstStyle/>
            <a:p>
              <a:pPr algn="ctr"/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7" name="Freeform 8"/>
            <p:cNvSpPr>
              <a:spLocks noChangeAspect="1"/>
            </p:cNvSpPr>
            <p:nvPr/>
          </p:nvSpPr>
          <p:spPr bwMode="auto">
            <a:xfrm>
              <a:off x="775264" y="1376616"/>
              <a:ext cx="1043614" cy="1158573"/>
            </a:xfrm>
            <a:custGeom>
              <a:avLst/>
              <a:gdLst>
                <a:gd name="T0" fmla="*/ 726 w 1403"/>
                <a:gd name="T1" fmla="*/ 672855 h 1299"/>
                <a:gd name="T2" fmla="*/ 726 w 1403"/>
                <a:gd name="T3" fmla="*/ 672855 h 1299"/>
                <a:gd name="T4" fmla="*/ 726 w 1403"/>
                <a:gd name="T5" fmla="*/ 672855 h 1299"/>
                <a:gd name="T6" fmla="*/ 726 w 1403"/>
                <a:gd name="T7" fmla="*/ 672855 h 1299"/>
                <a:gd name="T8" fmla="*/ 726 w 1403"/>
                <a:gd name="T9" fmla="*/ 672855 h 1299"/>
                <a:gd name="T10" fmla="*/ 726 w 1403"/>
                <a:gd name="T11" fmla="*/ 672855 h 1299"/>
                <a:gd name="T12" fmla="*/ 726 w 1403"/>
                <a:gd name="T13" fmla="*/ 672855 h 1299"/>
                <a:gd name="T14" fmla="*/ 726 w 1403"/>
                <a:gd name="T15" fmla="*/ 672855 h 1299"/>
                <a:gd name="T16" fmla="*/ 726 w 1403"/>
                <a:gd name="T17" fmla="*/ 672855 h 1299"/>
                <a:gd name="T18" fmla="*/ 726 w 1403"/>
                <a:gd name="T19" fmla="*/ 0 h 1299"/>
                <a:gd name="T20" fmla="*/ 726 w 1403"/>
                <a:gd name="T21" fmla="*/ 672855 h 1299"/>
                <a:gd name="T22" fmla="*/ 726 w 1403"/>
                <a:gd name="T23" fmla="*/ 672855 h 1299"/>
                <a:gd name="T24" fmla="*/ 726 w 1403"/>
                <a:gd name="T25" fmla="*/ 672855 h 1299"/>
                <a:gd name="T26" fmla="*/ 726 w 1403"/>
                <a:gd name="T27" fmla="*/ 672855 h 1299"/>
                <a:gd name="T28" fmla="*/ 726 w 1403"/>
                <a:gd name="T29" fmla="*/ 672855 h 1299"/>
                <a:gd name="T30" fmla="*/ 726 w 1403"/>
                <a:gd name="T31" fmla="*/ 672855 h 1299"/>
                <a:gd name="T32" fmla="*/ 726 w 1403"/>
                <a:gd name="T33" fmla="*/ 672855 h 1299"/>
                <a:gd name="T34" fmla="*/ 726 w 1403"/>
                <a:gd name="T35" fmla="*/ 672855 h 1299"/>
                <a:gd name="T36" fmla="*/ 726 w 1403"/>
                <a:gd name="T37" fmla="*/ 672855 h 1299"/>
                <a:gd name="T38" fmla="*/ 726 w 1403"/>
                <a:gd name="T39" fmla="*/ 672855 h 1299"/>
                <a:gd name="T40" fmla="*/ 726 w 1403"/>
                <a:gd name="T41" fmla="*/ 672855 h 1299"/>
                <a:gd name="T42" fmla="*/ 726 w 1403"/>
                <a:gd name="T43" fmla="*/ 672855 h 1299"/>
                <a:gd name="T44" fmla="*/ 726 w 1403"/>
                <a:gd name="T45" fmla="*/ 672855 h 1299"/>
                <a:gd name="T46" fmla="*/ 726 w 1403"/>
                <a:gd name="T47" fmla="*/ 672855 h 1299"/>
                <a:gd name="T48" fmla="*/ 726 w 1403"/>
                <a:gd name="T49" fmla="*/ 672855 h 1299"/>
                <a:gd name="T50" fmla="*/ 726 w 1403"/>
                <a:gd name="T51" fmla="*/ 672855 h 1299"/>
                <a:gd name="T52" fmla="*/ 726 w 1403"/>
                <a:gd name="T53" fmla="*/ 672855 h 1299"/>
                <a:gd name="T54" fmla="*/ 726 w 1403"/>
                <a:gd name="T55" fmla="*/ 672855 h 1299"/>
                <a:gd name="T56" fmla="*/ 726 w 1403"/>
                <a:gd name="T57" fmla="*/ 672855 h 1299"/>
                <a:gd name="T58" fmla="*/ 726 w 1403"/>
                <a:gd name="T59" fmla="*/ 672855 h 1299"/>
                <a:gd name="T60" fmla="*/ 726 w 1403"/>
                <a:gd name="T61" fmla="*/ 672855 h 1299"/>
                <a:gd name="T62" fmla="*/ 726 w 1403"/>
                <a:gd name="T63" fmla="*/ 672855 h 1299"/>
                <a:gd name="T64" fmla="*/ 726 w 1403"/>
                <a:gd name="T65" fmla="*/ 672855 h 1299"/>
                <a:gd name="T66" fmla="*/ 726 w 1403"/>
                <a:gd name="T67" fmla="*/ 672855 h 1299"/>
                <a:gd name="T68" fmla="*/ 726 w 1403"/>
                <a:gd name="T69" fmla="*/ 672855 h 1299"/>
                <a:gd name="T70" fmla="*/ 726 w 1403"/>
                <a:gd name="T71" fmla="*/ 672855 h 1299"/>
                <a:gd name="T72" fmla="*/ 726 w 1403"/>
                <a:gd name="T73" fmla="*/ 672855 h 1299"/>
                <a:gd name="T74" fmla="*/ 726 w 1403"/>
                <a:gd name="T75" fmla="*/ 672855 h 1299"/>
                <a:gd name="T76" fmla="*/ 726 w 1403"/>
                <a:gd name="T77" fmla="*/ 672855 h 1299"/>
                <a:gd name="T78" fmla="*/ 726 w 1403"/>
                <a:gd name="T79" fmla="*/ 672855 h 1299"/>
                <a:gd name="T80" fmla="*/ 726 w 1403"/>
                <a:gd name="T81" fmla="*/ 672855 h 1299"/>
                <a:gd name="T82" fmla="*/ 726 w 1403"/>
                <a:gd name="T83" fmla="*/ 672855 h 1299"/>
                <a:gd name="T84" fmla="*/ 726 w 1403"/>
                <a:gd name="T85" fmla="*/ 672855 h 1299"/>
                <a:gd name="T86" fmla="*/ 726 w 1403"/>
                <a:gd name="T87" fmla="*/ 672855 h 1299"/>
                <a:gd name="T88" fmla="*/ 726 w 1403"/>
                <a:gd name="T89" fmla="*/ 672855 h 1299"/>
                <a:gd name="T90" fmla="*/ 726 w 1403"/>
                <a:gd name="T91" fmla="*/ 672855 h 1299"/>
                <a:gd name="T92" fmla="*/ 726 w 1403"/>
                <a:gd name="T93" fmla="*/ 672855 h 1299"/>
                <a:gd name="T94" fmla="*/ 726 w 1403"/>
                <a:gd name="T95" fmla="*/ 672855 h 1299"/>
                <a:gd name="T96" fmla="*/ 726 w 1403"/>
                <a:gd name="T97" fmla="*/ 672855 h 1299"/>
                <a:gd name="T98" fmla="*/ 726 w 1403"/>
                <a:gd name="T99" fmla="*/ 672855 h 1299"/>
                <a:gd name="T100" fmla="*/ 726 w 1403"/>
                <a:gd name="T101" fmla="*/ 672855 h 1299"/>
                <a:gd name="T102" fmla="*/ 726 w 1403"/>
                <a:gd name="T103" fmla="*/ 672855 h 1299"/>
                <a:gd name="T104" fmla="*/ 726 w 1403"/>
                <a:gd name="T105" fmla="*/ 672855 h 1299"/>
                <a:gd name="T106" fmla="*/ 726 w 1403"/>
                <a:gd name="T107" fmla="*/ 672855 h 1299"/>
                <a:gd name="T108" fmla="*/ 726 w 1403"/>
                <a:gd name="T109" fmla="*/ 672855 h 1299"/>
                <a:gd name="T110" fmla="*/ 726 w 1403"/>
                <a:gd name="T111" fmla="*/ 672855 h 1299"/>
                <a:gd name="T112" fmla="*/ 726 w 1403"/>
                <a:gd name="T113" fmla="*/ 672855 h 1299"/>
                <a:gd name="T114" fmla="*/ 726 w 1403"/>
                <a:gd name="T115" fmla="*/ 672855 h 1299"/>
                <a:gd name="T116" fmla="*/ 726 w 1403"/>
                <a:gd name="T117" fmla="*/ 672855 h 1299"/>
                <a:gd name="T118" fmla="*/ 726 w 1403"/>
                <a:gd name="T119" fmla="*/ 672855 h 1299"/>
                <a:gd name="T120" fmla="*/ 726 w 1403"/>
                <a:gd name="T121" fmla="*/ 672855 h 1299"/>
                <a:gd name="T122" fmla="*/ 726 w 1403"/>
                <a:gd name="T123" fmla="*/ 672855 h 1299"/>
                <a:gd name="T124" fmla="*/ 726 w 1403"/>
                <a:gd name="T125" fmla="*/ 672855 h 129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1403" h="1299">
                  <a:moveTo>
                    <a:pt x="0" y="334"/>
                  </a:moveTo>
                  <a:lnTo>
                    <a:pt x="67" y="290"/>
                  </a:lnTo>
                  <a:lnTo>
                    <a:pt x="106" y="271"/>
                  </a:lnTo>
                  <a:lnTo>
                    <a:pt x="112" y="243"/>
                  </a:lnTo>
                  <a:lnTo>
                    <a:pt x="82" y="227"/>
                  </a:lnTo>
                  <a:lnTo>
                    <a:pt x="80" y="195"/>
                  </a:lnTo>
                  <a:lnTo>
                    <a:pt x="93" y="185"/>
                  </a:lnTo>
                  <a:lnTo>
                    <a:pt x="90" y="172"/>
                  </a:lnTo>
                  <a:lnTo>
                    <a:pt x="142" y="167"/>
                  </a:lnTo>
                  <a:lnTo>
                    <a:pt x="155" y="141"/>
                  </a:lnTo>
                  <a:lnTo>
                    <a:pt x="157" y="118"/>
                  </a:lnTo>
                  <a:lnTo>
                    <a:pt x="200" y="111"/>
                  </a:lnTo>
                  <a:lnTo>
                    <a:pt x="205" y="88"/>
                  </a:lnTo>
                  <a:lnTo>
                    <a:pt x="164" y="81"/>
                  </a:lnTo>
                  <a:lnTo>
                    <a:pt x="183" y="65"/>
                  </a:lnTo>
                  <a:lnTo>
                    <a:pt x="250" y="65"/>
                  </a:lnTo>
                  <a:lnTo>
                    <a:pt x="269" y="46"/>
                  </a:lnTo>
                  <a:lnTo>
                    <a:pt x="297" y="44"/>
                  </a:lnTo>
                  <a:lnTo>
                    <a:pt x="314" y="28"/>
                  </a:lnTo>
                  <a:lnTo>
                    <a:pt x="336" y="56"/>
                  </a:lnTo>
                  <a:lnTo>
                    <a:pt x="420" y="51"/>
                  </a:lnTo>
                  <a:lnTo>
                    <a:pt x="459" y="79"/>
                  </a:lnTo>
                  <a:lnTo>
                    <a:pt x="584" y="72"/>
                  </a:lnTo>
                  <a:lnTo>
                    <a:pt x="603" y="58"/>
                  </a:lnTo>
                  <a:lnTo>
                    <a:pt x="650" y="81"/>
                  </a:lnTo>
                  <a:lnTo>
                    <a:pt x="700" y="102"/>
                  </a:lnTo>
                  <a:lnTo>
                    <a:pt x="724" y="93"/>
                  </a:lnTo>
                  <a:lnTo>
                    <a:pt x="739" y="81"/>
                  </a:lnTo>
                  <a:lnTo>
                    <a:pt x="780" y="88"/>
                  </a:lnTo>
                  <a:lnTo>
                    <a:pt x="752" y="72"/>
                  </a:lnTo>
                  <a:lnTo>
                    <a:pt x="726" y="74"/>
                  </a:lnTo>
                  <a:lnTo>
                    <a:pt x="687" y="79"/>
                  </a:lnTo>
                  <a:lnTo>
                    <a:pt x="668" y="56"/>
                  </a:lnTo>
                  <a:lnTo>
                    <a:pt x="646" y="44"/>
                  </a:lnTo>
                  <a:lnTo>
                    <a:pt x="646" y="23"/>
                  </a:lnTo>
                  <a:lnTo>
                    <a:pt x="653" y="2"/>
                  </a:lnTo>
                  <a:lnTo>
                    <a:pt x="670" y="0"/>
                  </a:lnTo>
                  <a:lnTo>
                    <a:pt x="693" y="19"/>
                  </a:lnTo>
                  <a:lnTo>
                    <a:pt x="700" y="9"/>
                  </a:lnTo>
                  <a:lnTo>
                    <a:pt x="719" y="0"/>
                  </a:lnTo>
                  <a:lnTo>
                    <a:pt x="743" y="14"/>
                  </a:lnTo>
                  <a:lnTo>
                    <a:pt x="756" y="2"/>
                  </a:lnTo>
                  <a:lnTo>
                    <a:pt x="769" y="21"/>
                  </a:lnTo>
                  <a:lnTo>
                    <a:pt x="771" y="35"/>
                  </a:lnTo>
                  <a:lnTo>
                    <a:pt x="805" y="51"/>
                  </a:lnTo>
                  <a:lnTo>
                    <a:pt x="793" y="65"/>
                  </a:lnTo>
                  <a:lnTo>
                    <a:pt x="793" y="83"/>
                  </a:lnTo>
                  <a:lnTo>
                    <a:pt x="851" y="88"/>
                  </a:lnTo>
                  <a:lnTo>
                    <a:pt x="866" y="65"/>
                  </a:lnTo>
                  <a:lnTo>
                    <a:pt x="855" y="53"/>
                  </a:lnTo>
                  <a:lnTo>
                    <a:pt x="829" y="56"/>
                  </a:lnTo>
                  <a:lnTo>
                    <a:pt x="836" y="28"/>
                  </a:lnTo>
                  <a:lnTo>
                    <a:pt x="887" y="44"/>
                  </a:lnTo>
                  <a:lnTo>
                    <a:pt x="898" y="63"/>
                  </a:lnTo>
                  <a:lnTo>
                    <a:pt x="941" y="63"/>
                  </a:lnTo>
                  <a:lnTo>
                    <a:pt x="984" y="86"/>
                  </a:lnTo>
                  <a:lnTo>
                    <a:pt x="1006" y="81"/>
                  </a:lnTo>
                  <a:lnTo>
                    <a:pt x="1029" y="102"/>
                  </a:lnTo>
                  <a:lnTo>
                    <a:pt x="1006" y="130"/>
                  </a:lnTo>
                  <a:lnTo>
                    <a:pt x="986" y="109"/>
                  </a:lnTo>
                  <a:lnTo>
                    <a:pt x="973" y="116"/>
                  </a:lnTo>
                  <a:lnTo>
                    <a:pt x="954" y="132"/>
                  </a:lnTo>
                  <a:lnTo>
                    <a:pt x="924" y="146"/>
                  </a:lnTo>
                  <a:lnTo>
                    <a:pt x="939" y="167"/>
                  </a:lnTo>
                  <a:lnTo>
                    <a:pt x="913" y="169"/>
                  </a:lnTo>
                  <a:lnTo>
                    <a:pt x="892" y="197"/>
                  </a:lnTo>
                  <a:lnTo>
                    <a:pt x="870" y="232"/>
                  </a:lnTo>
                  <a:lnTo>
                    <a:pt x="902" y="262"/>
                  </a:lnTo>
                  <a:lnTo>
                    <a:pt x="928" y="297"/>
                  </a:lnTo>
                  <a:lnTo>
                    <a:pt x="978" y="301"/>
                  </a:lnTo>
                  <a:lnTo>
                    <a:pt x="1021" y="297"/>
                  </a:lnTo>
                  <a:lnTo>
                    <a:pt x="1040" y="315"/>
                  </a:lnTo>
                  <a:lnTo>
                    <a:pt x="1032" y="325"/>
                  </a:lnTo>
                  <a:lnTo>
                    <a:pt x="1019" y="343"/>
                  </a:lnTo>
                  <a:lnTo>
                    <a:pt x="1038" y="375"/>
                  </a:lnTo>
                  <a:lnTo>
                    <a:pt x="1045" y="399"/>
                  </a:lnTo>
                  <a:lnTo>
                    <a:pt x="1068" y="410"/>
                  </a:lnTo>
                  <a:lnTo>
                    <a:pt x="1100" y="389"/>
                  </a:lnTo>
                  <a:lnTo>
                    <a:pt x="1092" y="359"/>
                  </a:lnTo>
                  <a:lnTo>
                    <a:pt x="1064" y="334"/>
                  </a:lnTo>
                  <a:lnTo>
                    <a:pt x="1096" y="304"/>
                  </a:lnTo>
                  <a:lnTo>
                    <a:pt x="1068" y="253"/>
                  </a:lnTo>
                  <a:lnTo>
                    <a:pt x="1042" y="232"/>
                  </a:lnTo>
                  <a:lnTo>
                    <a:pt x="1064" y="213"/>
                  </a:lnTo>
                  <a:lnTo>
                    <a:pt x="1060" y="185"/>
                  </a:lnTo>
                  <a:lnTo>
                    <a:pt x="1075" y="169"/>
                  </a:lnTo>
                  <a:lnTo>
                    <a:pt x="1100" y="185"/>
                  </a:lnTo>
                  <a:lnTo>
                    <a:pt x="1161" y="246"/>
                  </a:lnTo>
                  <a:lnTo>
                    <a:pt x="1197" y="255"/>
                  </a:lnTo>
                  <a:lnTo>
                    <a:pt x="1208" y="239"/>
                  </a:lnTo>
                  <a:lnTo>
                    <a:pt x="1200" y="206"/>
                  </a:lnTo>
                  <a:lnTo>
                    <a:pt x="1221" y="211"/>
                  </a:lnTo>
                  <a:lnTo>
                    <a:pt x="1258" y="248"/>
                  </a:lnTo>
                  <a:lnTo>
                    <a:pt x="1264" y="269"/>
                  </a:lnTo>
                  <a:lnTo>
                    <a:pt x="1286" y="283"/>
                  </a:lnTo>
                  <a:lnTo>
                    <a:pt x="1329" y="299"/>
                  </a:lnTo>
                  <a:lnTo>
                    <a:pt x="1350" y="329"/>
                  </a:lnTo>
                  <a:lnTo>
                    <a:pt x="1383" y="350"/>
                  </a:lnTo>
                  <a:lnTo>
                    <a:pt x="1400" y="357"/>
                  </a:lnTo>
                  <a:lnTo>
                    <a:pt x="1402" y="375"/>
                  </a:lnTo>
                  <a:lnTo>
                    <a:pt x="1376" y="387"/>
                  </a:lnTo>
                  <a:lnTo>
                    <a:pt x="1361" y="373"/>
                  </a:lnTo>
                  <a:lnTo>
                    <a:pt x="1348" y="375"/>
                  </a:lnTo>
                  <a:lnTo>
                    <a:pt x="1344" y="406"/>
                  </a:lnTo>
                  <a:lnTo>
                    <a:pt x="1322" y="413"/>
                  </a:lnTo>
                  <a:lnTo>
                    <a:pt x="1299" y="396"/>
                  </a:lnTo>
                  <a:lnTo>
                    <a:pt x="1249" y="396"/>
                  </a:lnTo>
                  <a:lnTo>
                    <a:pt x="1243" y="431"/>
                  </a:lnTo>
                  <a:lnTo>
                    <a:pt x="1256" y="452"/>
                  </a:lnTo>
                  <a:lnTo>
                    <a:pt x="1275" y="440"/>
                  </a:lnTo>
                  <a:lnTo>
                    <a:pt x="1294" y="436"/>
                  </a:lnTo>
                  <a:lnTo>
                    <a:pt x="1314" y="447"/>
                  </a:lnTo>
                  <a:lnTo>
                    <a:pt x="1288" y="473"/>
                  </a:lnTo>
                  <a:lnTo>
                    <a:pt x="1314" y="496"/>
                  </a:lnTo>
                  <a:lnTo>
                    <a:pt x="1348" y="503"/>
                  </a:lnTo>
                  <a:lnTo>
                    <a:pt x="1344" y="517"/>
                  </a:lnTo>
                  <a:lnTo>
                    <a:pt x="1331" y="519"/>
                  </a:lnTo>
                  <a:lnTo>
                    <a:pt x="1299" y="598"/>
                  </a:lnTo>
                  <a:lnTo>
                    <a:pt x="1301" y="547"/>
                  </a:lnTo>
                  <a:lnTo>
                    <a:pt x="1316" y="522"/>
                  </a:lnTo>
                  <a:lnTo>
                    <a:pt x="1299" y="510"/>
                  </a:lnTo>
                  <a:lnTo>
                    <a:pt x="1279" y="526"/>
                  </a:lnTo>
                  <a:lnTo>
                    <a:pt x="1290" y="540"/>
                  </a:lnTo>
                  <a:lnTo>
                    <a:pt x="1275" y="549"/>
                  </a:lnTo>
                  <a:lnTo>
                    <a:pt x="1260" y="561"/>
                  </a:lnTo>
                  <a:lnTo>
                    <a:pt x="1262" y="596"/>
                  </a:lnTo>
                  <a:lnTo>
                    <a:pt x="1240" y="610"/>
                  </a:lnTo>
                  <a:lnTo>
                    <a:pt x="1210" y="614"/>
                  </a:lnTo>
                  <a:lnTo>
                    <a:pt x="1221" y="633"/>
                  </a:lnTo>
                  <a:lnTo>
                    <a:pt x="1210" y="654"/>
                  </a:lnTo>
                  <a:lnTo>
                    <a:pt x="1221" y="670"/>
                  </a:lnTo>
                  <a:lnTo>
                    <a:pt x="1204" y="705"/>
                  </a:lnTo>
                  <a:lnTo>
                    <a:pt x="1197" y="737"/>
                  </a:lnTo>
                  <a:lnTo>
                    <a:pt x="1172" y="756"/>
                  </a:lnTo>
                  <a:lnTo>
                    <a:pt x="1139" y="807"/>
                  </a:lnTo>
                  <a:lnTo>
                    <a:pt x="1135" y="841"/>
                  </a:lnTo>
                  <a:lnTo>
                    <a:pt x="1146" y="869"/>
                  </a:lnTo>
                  <a:lnTo>
                    <a:pt x="1161" y="904"/>
                  </a:lnTo>
                  <a:lnTo>
                    <a:pt x="1169" y="941"/>
                  </a:lnTo>
                  <a:lnTo>
                    <a:pt x="1154" y="957"/>
                  </a:lnTo>
                  <a:lnTo>
                    <a:pt x="1135" y="946"/>
                  </a:lnTo>
                  <a:lnTo>
                    <a:pt x="1139" y="927"/>
                  </a:lnTo>
                  <a:lnTo>
                    <a:pt x="1128" y="885"/>
                  </a:lnTo>
                  <a:lnTo>
                    <a:pt x="1116" y="878"/>
                  </a:lnTo>
                  <a:lnTo>
                    <a:pt x="1107" y="853"/>
                  </a:lnTo>
                  <a:lnTo>
                    <a:pt x="1090" y="853"/>
                  </a:lnTo>
                  <a:lnTo>
                    <a:pt x="1070" y="839"/>
                  </a:lnTo>
                  <a:lnTo>
                    <a:pt x="1049" y="844"/>
                  </a:lnTo>
                  <a:lnTo>
                    <a:pt x="1029" y="834"/>
                  </a:lnTo>
                  <a:lnTo>
                    <a:pt x="1006" y="846"/>
                  </a:lnTo>
                  <a:lnTo>
                    <a:pt x="963" y="837"/>
                  </a:lnTo>
                  <a:lnTo>
                    <a:pt x="991" y="867"/>
                  </a:lnTo>
                  <a:lnTo>
                    <a:pt x="954" y="865"/>
                  </a:lnTo>
                  <a:lnTo>
                    <a:pt x="928" y="841"/>
                  </a:lnTo>
                  <a:lnTo>
                    <a:pt x="885" y="841"/>
                  </a:lnTo>
                  <a:lnTo>
                    <a:pt x="892" y="878"/>
                  </a:lnTo>
                  <a:lnTo>
                    <a:pt x="859" y="867"/>
                  </a:lnTo>
                  <a:lnTo>
                    <a:pt x="842" y="904"/>
                  </a:lnTo>
                  <a:lnTo>
                    <a:pt x="855" y="920"/>
                  </a:lnTo>
                  <a:lnTo>
                    <a:pt x="842" y="964"/>
                  </a:lnTo>
                  <a:lnTo>
                    <a:pt x="857" y="1015"/>
                  </a:lnTo>
                  <a:lnTo>
                    <a:pt x="874" y="1050"/>
                  </a:lnTo>
                  <a:lnTo>
                    <a:pt x="894" y="1082"/>
                  </a:lnTo>
                  <a:lnTo>
                    <a:pt x="954" y="1080"/>
                  </a:lnTo>
                  <a:lnTo>
                    <a:pt x="980" y="1073"/>
                  </a:lnTo>
                  <a:lnTo>
                    <a:pt x="984" y="1050"/>
                  </a:lnTo>
                  <a:lnTo>
                    <a:pt x="971" y="1031"/>
                  </a:lnTo>
                  <a:lnTo>
                    <a:pt x="973" y="1015"/>
                  </a:lnTo>
                  <a:lnTo>
                    <a:pt x="1010" y="1020"/>
                  </a:lnTo>
                  <a:lnTo>
                    <a:pt x="1047" y="1011"/>
                  </a:lnTo>
                  <a:lnTo>
                    <a:pt x="1047" y="1031"/>
                  </a:lnTo>
                  <a:lnTo>
                    <a:pt x="1036" y="1062"/>
                  </a:lnTo>
                  <a:lnTo>
                    <a:pt x="1019" y="1085"/>
                  </a:lnTo>
                  <a:lnTo>
                    <a:pt x="1014" y="1117"/>
                  </a:lnTo>
                  <a:lnTo>
                    <a:pt x="1038" y="1131"/>
                  </a:lnTo>
                  <a:lnTo>
                    <a:pt x="1070" y="1126"/>
                  </a:lnTo>
                  <a:lnTo>
                    <a:pt x="1090" y="1138"/>
                  </a:lnTo>
                  <a:lnTo>
                    <a:pt x="1107" y="1133"/>
                  </a:lnTo>
                  <a:lnTo>
                    <a:pt x="1113" y="1154"/>
                  </a:lnTo>
                  <a:lnTo>
                    <a:pt x="1098" y="1187"/>
                  </a:lnTo>
                  <a:lnTo>
                    <a:pt x="1111" y="1205"/>
                  </a:lnTo>
                  <a:lnTo>
                    <a:pt x="1113" y="1242"/>
                  </a:lnTo>
                  <a:lnTo>
                    <a:pt x="1135" y="1268"/>
                  </a:lnTo>
                  <a:lnTo>
                    <a:pt x="1163" y="1275"/>
                  </a:lnTo>
                  <a:lnTo>
                    <a:pt x="1182" y="1268"/>
                  </a:lnTo>
                  <a:lnTo>
                    <a:pt x="1191" y="1270"/>
                  </a:lnTo>
                  <a:lnTo>
                    <a:pt x="1228" y="1270"/>
                  </a:lnTo>
                  <a:lnTo>
                    <a:pt x="1260" y="1273"/>
                  </a:lnTo>
                  <a:lnTo>
                    <a:pt x="1268" y="1256"/>
                  </a:lnTo>
                  <a:lnTo>
                    <a:pt x="1240" y="1284"/>
                  </a:lnTo>
                  <a:lnTo>
                    <a:pt x="1221" y="1282"/>
                  </a:lnTo>
                  <a:lnTo>
                    <a:pt x="1202" y="1284"/>
                  </a:lnTo>
                  <a:lnTo>
                    <a:pt x="1163" y="1298"/>
                  </a:lnTo>
                  <a:lnTo>
                    <a:pt x="1131" y="1279"/>
                  </a:lnTo>
                  <a:lnTo>
                    <a:pt x="1100" y="1268"/>
                  </a:lnTo>
                  <a:lnTo>
                    <a:pt x="1088" y="1270"/>
                  </a:lnTo>
                  <a:lnTo>
                    <a:pt x="1090" y="1254"/>
                  </a:lnTo>
                  <a:lnTo>
                    <a:pt x="1088" y="1228"/>
                  </a:lnTo>
                  <a:lnTo>
                    <a:pt x="1062" y="1205"/>
                  </a:lnTo>
                  <a:lnTo>
                    <a:pt x="1008" y="1191"/>
                  </a:lnTo>
                  <a:lnTo>
                    <a:pt x="999" y="1180"/>
                  </a:lnTo>
                  <a:lnTo>
                    <a:pt x="984" y="1182"/>
                  </a:lnTo>
                  <a:lnTo>
                    <a:pt x="969" y="1171"/>
                  </a:lnTo>
                  <a:lnTo>
                    <a:pt x="945" y="1159"/>
                  </a:lnTo>
                  <a:lnTo>
                    <a:pt x="920" y="1126"/>
                  </a:lnTo>
                  <a:lnTo>
                    <a:pt x="889" y="1117"/>
                  </a:lnTo>
                  <a:lnTo>
                    <a:pt x="872" y="1138"/>
                  </a:lnTo>
                  <a:lnTo>
                    <a:pt x="853" y="1122"/>
                  </a:lnTo>
                  <a:lnTo>
                    <a:pt x="829" y="1122"/>
                  </a:lnTo>
                  <a:lnTo>
                    <a:pt x="782" y="1110"/>
                  </a:lnTo>
                  <a:lnTo>
                    <a:pt x="696" y="1055"/>
                  </a:lnTo>
                  <a:lnTo>
                    <a:pt x="689" y="997"/>
                  </a:lnTo>
                  <a:lnTo>
                    <a:pt x="681" y="974"/>
                  </a:lnTo>
                  <a:lnTo>
                    <a:pt x="665" y="957"/>
                  </a:lnTo>
                  <a:lnTo>
                    <a:pt x="646" y="925"/>
                  </a:lnTo>
                  <a:lnTo>
                    <a:pt x="556" y="814"/>
                  </a:lnTo>
                  <a:lnTo>
                    <a:pt x="556" y="855"/>
                  </a:lnTo>
                  <a:lnTo>
                    <a:pt x="612" y="929"/>
                  </a:lnTo>
                  <a:lnTo>
                    <a:pt x="635" y="992"/>
                  </a:lnTo>
                  <a:lnTo>
                    <a:pt x="601" y="978"/>
                  </a:lnTo>
                  <a:lnTo>
                    <a:pt x="594" y="941"/>
                  </a:lnTo>
                  <a:lnTo>
                    <a:pt x="549" y="918"/>
                  </a:lnTo>
                  <a:lnTo>
                    <a:pt x="575" y="904"/>
                  </a:lnTo>
                  <a:lnTo>
                    <a:pt x="515" y="865"/>
                  </a:lnTo>
                  <a:lnTo>
                    <a:pt x="538" y="841"/>
                  </a:lnTo>
                  <a:lnTo>
                    <a:pt x="517" y="795"/>
                  </a:lnTo>
                  <a:lnTo>
                    <a:pt x="444" y="698"/>
                  </a:lnTo>
                  <a:lnTo>
                    <a:pt x="435" y="642"/>
                  </a:lnTo>
                  <a:lnTo>
                    <a:pt x="439" y="596"/>
                  </a:lnTo>
                  <a:lnTo>
                    <a:pt x="459" y="549"/>
                  </a:lnTo>
                  <a:lnTo>
                    <a:pt x="459" y="503"/>
                  </a:lnTo>
                  <a:lnTo>
                    <a:pt x="444" y="475"/>
                  </a:lnTo>
                  <a:lnTo>
                    <a:pt x="485" y="466"/>
                  </a:lnTo>
                  <a:lnTo>
                    <a:pt x="435" y="410"/>
                  </a:lnTo>
                  <a:lnTo>
                    <a:pt x="437" y="385"/>
                  </a:lnTo>
                  <a:lnTo>
                    <a:pt x="416" y="350"/>
                  </a:lnTo>
                  <a:lnTo>
                    <a:pt x="424" y="329"/>
                  </a:lnTo>
                  <a:lnTo>
                    <a:pt x="409" y="318"/>
                  </a:lnTo>
                  <a:lnTo>
                    <a:pt x="407" y="294"/>
                  </a:lnTo>
                  <a:lnTo>
                    <a:pt x="392" y="276"/>
                  </a:lnTo>
                  <a:lnTo>
                    <a:pt x="409" y="260"/>
                  </a:lnTo>
                  <a:lnTo>
                    <a:pt x="385" y="248"/>
                  </a:lnTo>
                  <a:lnTo>
                    <a:pt x="366" y="264"/>
                  </a:lnTo>
                  <a:lnTo>
                    <a:pt x="338" y="232"/>
                  </a:lnTo>
                  <a:lnTo>
                    <a:pt x="308" y="223"/>
                  </a:lnTo>
                  <a:lnTo>
                    <a:pt x="265" y="223"/>
                  </a:lnTo>
                  <a:lnTo>
                    <a:pt x="237" y="253"/>
                  </a:lnTo>
                  <a:lnTo>
                    <a:pt x="224" y="243"/>
                  </a:lnTo>
                  <a:lnTo>
                    <a:pt x="248" y="204"/>
                  </a:lnTo>
                  <a:lnTo>
                    <a:pt x="226" y="211"/>
                  </a:lnTo>
                  <a:lnTo>
                    <a:pt x="183" y="253"/>
                  </a:lnTo>
                  <a:lnTo>
                    <a:pt x="138" y="290"/>
                  </a:lnTo>
                  <a:lnTo>
                    <a:pt x="97" y="299"/>
                  </a:lnTo>
                  <a:lnTo>
                    <a:pt x="28" y="336"/>
                  </a:lnTo>
                  <a:lnTo>
                    <a:pt x="0" y="334"/>
                  </a:lnTo>
                </a:path>
              </a:pathLst>
            </a:cu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cap="rnd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8" name="Oval 9"/>
            <p:cNvSpPr>
              <a:spLocks noChangeAspect="1" noChangeArrowheads="1"/>
            </p:cNvSpPr>
            <p:nvPr/>
          </p:nvSpPr>
          <p:spPr bwMode="auto">
            <a:xfrm>
              <a:off x="1573068" y="1955902"/>
              <a:ext cx="107972" cy="1079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hlink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19969" anchor="ctr"/>
            <a:lstStyle/>
            <a:p>
              <a:pPr algn="ctr"/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grpSp>
          <p:nvGrpSpPr>
            <p:cNvPr id="119" name="Group 110"/>
            <p:cNvGrpSpPr>
              <a:grpSpLocks noChangeAspect="1"/>
            </p:cNvGrpSpPr>
            <p:nvPr/>
          </p:nvGrpSpPr>
          <p:grpSpPr>
            <a:xfrm>
              <a:off x="1919129" y="1167594"/>
              <a:ext cx="3989021" cy="3559836"/>
              <a:chOff x="1609251" y="690735"/>
              <a:chExt cx="3990060" cy="3560763"/>
            </a:xfrm>
          </p:grpSpPr>
          <p:sp>
            <p:nvSpPr>
              <p:cNvPr id="128" name="Freeform 12"/>
              <p:cNvSpPr>
                <a:spLocks/>
              </p:cNvSpPr>
              <p:nvPr/>
            </p:nvSpPr>
            <p:spPr bwMode="auto">
              <a:xfrm>
                <a:off x="1609251" y="3302173"/>
                <a:ext cx="403320" cy="479425"/>
              </a:xfrm>
              <a:custGeom>
                <a:avLst/>
                <a:gdLst>
                  <a:gd name="T0" fmla="*/ 656 w 546"/>
                  <a:gd name="T1" fmla="*/ 8081 h 737"/>
                  <a:gd name="T2" fmla="*/ 656 w 546"/>
                  <a:gd name="T3" fmla="*/ 0 h 737"/>
                  <a:gd name="T4" fmla="*/ 656 w 546"/>
                  <a:gd name="T5" fmla="*/ 8081 h 737"/>
                  <a:gd name="T6" fmla="*/ 656 w 546"/>
                  <a:gd name="T7" fmla="*/ 8081 h 737"/>
                  <a:gd name="T8" fmla="*/ 656 w 546"/>
                  <a:gd name="T9" fmla="*/ 8081 h 737"/>
                  <a:gd name="T10" fmla="*/ 656 w 546"/>
                  <a:gd name="T11" fmla="*/ 8081 h 737"/>
                  <a:gd name="T12" fmla="*/ 656 w 546"/>
                  <a:gd name="T13" fmla="*/ 8081 h 737"/>
                  <a:gd name="T14" fmla="*/ 656 w 546"/>
                  <a:gd name="T15" fmla="*/ 8081 h 737"/>
                  <a:gd name="T16" fmla="*/ 656 w 546"/>
                  <a:gd name="T17" fmla="*/ 8081 h 737"/>
                  <a:gd name="T18" fmla="*/ 656 w 546"/>
                  <a:gd name="T19" fmla="*/ 8081 h 737"/>
                  <a:gd name="T20" fmla="*/ 656 w 546"/>
                  <a:gd name="T21" fmla="*/ 8081 h 737"/>
                  <a:gd name="T22" fmla="*/ 656 w 546"/>
                  <a:gd name="T23" fmla="*/ 8081 h 737"/>
                  <a:gd name="T24" fmla="*/ 656 w 546"/>
                  <a:gd name="T25" fmla="*/ 8081 h 737"/>
                  <a:gd name="T26" fmla="*/ 656 w 546"/>
                  <a:gd name="T27" fmla="*/ 8081 h 737"/>
                  <a:gd name="T28" fmla="*/ 656 w 546"/>
                  <a:gd name="T29" fmla="*/ 8081 h 737"/>
                  <a:gd name="T30" fmla="*/ 656 w 546"/>
                  <a:gd name="T31" fmla="*/ 8081 h 737"/>
                  <a:gd name="T32" fmla="*/ 656 w 546"/>
                  <a:gd name="T33" fmla="*/ 8081 h 737"/>
                  <a:gd name="T34" fmla="*/ 656 w 546"/>
                  <a:gd name="T35" fmla="*/ 8081 h 737"/>
                  <a:gd name="T36" fmla="*/ 656 w 546"/>
                  <a:gd name="T37" fmla="*/ 8081 h 737"/>
                  <a:gd name="T38" fmla="*/ 656 w 546"/>
                  <a:gd name="T39" fmla="*/ 8081 h 737"/>
                  <a:gd name="T40" fmla="*/ 656 w 546"/>
                  <a:gd name="T41" fmla="*/ 8081 h 737"/>
                  <a:gd name="T42" fmla="*/ 0 w 546"/>
                  <a:gd name="T43" fmla="*/ 8081 h 737"/>
                  <a:gd name="T44" fmla="*/ 656 w 546"/>
                  <a:gd name="T45" fmla="*/ 8081 h 737"/>
                  <a:gd name="T46" fmla="*/ 656 w 546"/>
                  <a:gd name="T47" fmla="*/ 8081 h 737"/>
                  <a:gd name="T48" fmla="*/ 656 w 546"/>
                  <a:gd name="T49" fmla="*/ 8081 h 737"/>
                  <a:gd name="T50" fmla="*/ 656 w 546"/>
                  <a:gd name="T51" fmla="*/ 8081 h 737"/>
                  <a:gd name="T52" fmla="*/ 656 w 546"/>
                  <a:gd name="T53" fmla="*/ 8081 h 737"/>
                  <a:gd name="T54" fmla="*/ 656 w 546"/>
                  <a:gd name="T55" fmla="*/ 8081 h 737"/>
                  <a:gd name="T56" fmla="*/ 656 w 546"/>
                  <a:gd name="T57" fmla="*/ 8081 h 737"/>
                  <a:gd name="T58" fmla="*/ 656 w 546"/>
                  <a:gd name="T59" fmla="*/ 8081 h 737"/>
                  <a:gd name="T60" fmla="*/ 656 w 546"/>
                  <a:gd name="T61" fmla="*/ 8081 h 737"/>
                  <a:gd name="T62" fmla="*/ 656 w 546"/>
                  <a:gd name="T63" fmla="*/ 8081 h 737"/>
                  <a:gd name="T64" fmla="*/ 656 w 546"/>
                  <a:gd name="T65" fmla="*/ 8081 h 737"/>
                  <a:gd name="T66" fmla="*/ 656 w 546"/>
                  <a:gd name="T67" fmla="*/ 8081 h 73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546" h="737">
                    <a:moveTo>
                      <a:pt x="279" y="22"/>
                    </a:moveTo>
                    <a:lnTo>
                      <a:pt x="333" y="0"/>
                    </a:lnTo>
                    <a:lnTo>
                      <a:pt x="365" y="54"/>
                    </a:lnTo>
                    <a:lnTo>
                      <a:pt x="407" y="65"/>
                    </a:lnTo>
                    <a:lnTo>
                      <a:pt x="472" y="77"/>
                    </a:lnTo>
                    <a:lnTo>
                      <a:pt x="534" y="96"/>
                    </a:lnTo>
                    <a:lnTo>
                      <a:pt x="546" y="161"/>
                    </a:lnTo>
                    <a:lnTo>
                      <a:pt x="450" y="234"/>
                    </a:lnTo>
                    <a:lnTo>
                      <a:pt x="407" y="353"/>
                    </a:lnTo>
                    <a:lnTo>
                      <a:pt x="376" y="385"/>
                    </a:lnTo>
                    <a:lnTo>
                      <a:pt x="333" y="395"/>
                    </a:lnTo>
                    <a:lnTo>
                      <a:pt x="333" y="449"/>
                    </a:lnTo>
                    <a:lnTo>
                      <a:pt x="323" y="504"/>
                    </a:lnTo>
                    <a:lnTo>
                      <a:pt x="288" y="546"/>
                    </a:lnTo>
                    <a:lnTo>
                      <a:pt x="299" y="611"/>
                    </a:lnTo>
                    <a:lnTo>
                      <a:pt x="279" y="641"/>
                    </a:lnTo>
                    <a:lnTo>
                      <a:pt x="226" y="675"/>
                    </a:lnTo>
                    <a:lnTo>
                      <a:pt x="214" y="737"/>
                    </a:lnTo>
                    <a:lnTo>
                      <a:pt x="192" y="730"/>
                    </a:lnTo>
                    <a:lnTo>
                      <a:pt x="130" y="730"/>
                    </a:lnTo>
                    <a:lnTo>
                      <a:pt x="76" y="695"/>
                    </a:lnTo>
                    <a:lnTo>
                      <a:pt x="0" y="683"/>
                    </a:lnTo>
                    <a:lnTo>
                      <a:pt x="43" y="633"/>
                    </a:lnTo>
                    <a:lnTo>
                      <a:pt x="65" y="568"/>
                    </a:lnTo>
                    <a:lnTo>
                      <a:pt x="107" y="492"/>
                    </a:lnTo>
                    <a:lnTo>
                      <a:pt x="53" y="484"/>
                    </a:lnTo>
                    <a:lnTo>
                      <a:pt x="43" y="418"/>
                    </a:lnTo>
                    <a:lnTo>
                      <a:pt x="76" y="353"/>
                    </a:lnTo>
                    <a:lnTo>
                      <a:pt x="139" y="322"/>
                    </a:lnTo>
                    <a:lnTo>
                      <a:pt x="172" y="234"/>
                    </a:lnTo>
                    <a:lnTo>
                      <a:pt x="214" y="172"/>
                    </a:lnTo>
                    <a:lnTo>
                      <a:pt x="246" y="119"/>
                    </a:lnTo>
                    <a:lnTo>
                      <a:pt x="269" y="22"/>
                    </a:lnTo>
                    <a:lnTo>
                      <a:pt x="279" y="22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chemeClr val="accent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29" name="Freeform 13"/>
              <p:cNvSpPr>
                <a:spLocks/>
              </p:cNvSpPr>
              <p:nvPr/>
            </p:nvSpPr>
            <p:spPr bwMode="auto">
              <a:xfrm>
                <a:off x="2305894" y="1827385"/>
                <a:ext cx="565079" cy="827088"/>
              </a:xfrm>
              <a:custGeom>
                <a:avLst/>
                <a:gdLst>
                  <a:gd name="T0" fmla="*/ 610 w 769"/>
                  <a:gd name="T1" fmla="*/ 8774 h 1264"/>
                  <a:gd name="T2" fmla="*/ 610 w 769"/>
                  <a:gd name="T3" fmla="*/ 8774 h 1264"/>
                  <a:gd name="T4" fmla="*/ 610 w 769"/>
                  <a:gd name="T5" fmla="*/ 8774 h 1264"/>
                  <a:gd name="T6" fmla="*/ 610 w 769"/>
                  <a:gd name="T7" fmla="*/ 8774 h 1264"/>
                  <a:gd name="T8" fmla="*/ 610 w 769"/>
                  <a:gd name="T9" fmla="*/ 8774 h 1264"/>
                  <a:gd name="T10" fmla="*/ 610 w 769"/>
                  <a:gd name="T11" fmla="*/ 8774 h 1264"/>
                  <a:gd name="T12" fmla="*/ 610 w 769"/>
                  <a:gd name="T13" fmla="*/ 8774 h 1264"/>
                  <a:gd name="T14" fmla="*/ 610 w 769"/>
                  <a:gd name="T15" fmla="*/ 8774 h 1264"/>
                  <a:gd name="T16" fmla="*/ 610 w 769"/>
                  <a:gd name="T17" fmla="*/ 8774 h 1264"/>
                  <a:gd name="T18" fmla="*/ 610 w 769"/>
                  <a:gd name="T19" fmla="*/ 8774 h 1264"/>
                  <a:gd name="T20" fmla="*/ 610 w 769"/>
                  <a:gd name="T21" fmla="*/ 8774 h 1264"/>
                  <a:gd name="T22" fmla="*/ 610 w 769"/>
                  <a:gd name="T23" fmla="*/ 8774 h 1264"/>
                  <a:gd name="T24" fmla="*/ 610 w 769"/>
                  <a:gd name="T25" fmla="*/ 8774 h 1264"/>
                  <a:gd name="T26" fmla="*/ 610 w 769"/>
                  <a:gd name="T27" fmla="*/ 8774 h 1264"/>
                  <a:gd name="T28" fmla="*/ 610 w 769"/>
                  <a:gd name="T29" fmla="*/ 8774 h 1264"/>
                  <a:gd name="T30" fmla="*/ 610 w 769"/>
                  <a:gd name="T31" fmla="*/ 8774 h 1264"/>
                  <a:gd name="T32" fmla="*/ 610 w 769"/>
                  <a:gd name="T33" fmla="*/ 8774 h 1264"/>
                  <a:gd name="T34" fmla="*/ 610 w 769"/>
                  <a:gd name="T35" fmla="*/ 8774 h 1264"/>
                  <a:gd name="T36" fmla="*/ 610 w 769"/>
                  <a:gd name="T37" fmla="*/ 8774 h 1264"/>
                  <a:gd name="T38" fmla="*/ 610 w 769"/>
                  <a:gd name="T39" fmla="*/ 8774 h 1264"/>
                  <a:gd name="T40" fmla="*/ 610 w 769"/>
                  <a:gd name="T41" fmla="*/ 0 h 1264"/>
                  <a:gd name="T42" fmla="*/ 610 w 769"/>
                  <a:gd name="T43" fmla="*/ 8774 h 1264"/>
                  <a:gd name="T44" fmla="*/ 610 w 769"/>
                  <a:gd name="T45" fmla="*/ 8774 h 1264"/>
                  <a:gd name="T46" fmla="*/ 610 w 769"/>
                  <a:gd name="T47" fmla="*/ 8774 h 1264"/>
                  <a:gd name="T48" fmla="*/ 610 w 769"/>
                  <a:gd name="T49" fmla="*/ 8774 h 1264"/>
                  <a:gd name="T50" fmla="*/ 610 w 769"/>
                  <a:gd name="T51" fmla="*/ 8774 h 1264"/>
                  <a:gd name="T52" fmla="*/ 610 w 769"/>
                  <a:gd name="T53" fmla="*/ 8774 h 1264"/>
                  <a:gd name="T54" fmla="*/ 610 w 769"/>
                  <a:gd name="T55" fmla="*/ 8774 h 1264"/>
                  <a:gd name="T56" fmla="*/ 610 w 769"/>
                  <a:gd name="T57" fmla="*/ 8774 h 1264"/>
                  <a:gd name="T58" fmla="*/ 610 w 769"/>
                  <a:gd name="T59" fmla="*/ 8774 h 1264"/>
                  <a:gd name="T60" fmla="*/ 610 w 769"/>
                  <a:gd name="T61" fmla="*/ 8774 h 1264"/>
                  <a:gd name="T62" fmla="*/ 610 w 769"/>
                  <a:gd name="T63" fmla="*/ 8774 h 1264"/>
                  <a:gd name="T64" fmla="*/ 610 w 769"/>
                  <a:gd name="T65" fmla="*/ 8774 h 1264"/>
                  <a:gd name="T66" fmla="*/ 610 w 769"/>
                  <a:gd name="T67" fmla="*/ 8774 h 1264"/>
                  <a:gd name="T68" fmla="*/ 610 w 769"/>
                  <a:gd name="T69" fmla="*/ 8774 h 1264"/>
                  <a:gd name="T70" fmla="*/ 610 w 769"/>
                  <a:gd name="T71" fmla="*/ 8774 h 1264"/>
                  <a:gd name="T72" fmla="*/ 610 w 769"/>
                  <a:gd name="T73" fmla="*/ 8774 h 1264"/>
                  <a:gd name="T74" fmla="*/ 610 w 769"/>
                  <a:gd name="T75" fmla="*/ 8774 h 1264"/>
                  <a:gd name="T76" fmla="*/ 610 w 769"/>
                  <a:gd name="T77" fmla="*/ 8774 h 1264"/>
                  <a:gd name="T78" fmla="*/ 610 w 769"/>
                  <a:gd name="T79" fmla="*/ 8774 h 1264"/>
                  <a:gd name="T80" fmla="*/ 0 w 769"/>
                  <a:gd name="T81" fmla="*/ 8774 h 1264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769" h="1264">
                    <a:moveTo>
                      <a:pt x="0" y="1211"/>
                    </a:moveTo>
                    <a:lnTo>
                      <a:pt x="43" y="1241"/>
                    </a:lnTo>
                    <a:lnTo>
                      <a:pt x="107" y="1199"/>
                    </a:lnTo>
                    <a:lnTo>
                      <a:pt x="181" y="1253"/>
                    </a:lnTo>
                    <a:lnTo>
                      <a:pt x="212" y="1187"/>
                    </a:lnTo>
                    <a:lnTo>
                      <a:pt x="277" y="1199"/>
                    </a:lnTo>
                    <a:lnTo>
                      <a:pt x="343" y="1241"/>
                    </a:lnTo>
                    <a:lnTo>
                      <a:pt x="415" y="1219"/>
                    </a:lnTo>
                    <a:lnTo>
                      <a:pt x="480" y="1241"/>
                    </a:lnTo>
                    <a:lnTo>
                      <a:pt x="546" y="1264"/>
                    </a:lnTo>
                    <a:lnTo>
                      <a:pt x="631" y="1253"/>
                    </a:lnTo>
                    <a:lnTo>
                      <a:pt x="695" y="1199"/>
                    </a:lnTo>
                    <a:lnTo>
                      <a:pt x="619" y="1177"/>
                    </a:lnTo>
                    <a:lnTo>
                      <a:pt x="673" y="1123"/>
                    </a:lnTo>
                    <a:lnTo>
                      <a:pt x="727" y="1092"/>
                    </a:lnTo>
                    <a:lnTo>
                      <a:pt x="769" y="1038"/>
                    </a:lnTo>
                    <a:lnTo>
                      <a:pt x="750" y="985"/>
                    </a:lnTo>
                    <a:lnTo>
                      <a:pt x="707" y="941"/>
                    </a:lnTo>
                    <a:lnTo>
                      <a:pt x="661" y="941"/>
                    </a:lnTo>
                    <a:lnTo>
                      <a:pt x="631" y="965"/>
                    </a:lnTo>
                    <a:lnTo>
                      <a:pt x="608" y="941"/>
                    </a:lnTo>
                    <a:lnTo>
                      <a:pt x="653" y="911"/>
                    </a:lnTo>
                    <a:lnTo>
                      <a:pt x="641" y="857"/>
                    </a:lnTo>
                    <a:lnTo>
                      <a:pt x="631" y="815"/>
                    </a:lnTo>
                    <a:lnTo>
                      <a:pt x="619" y="696"/>
                    </a:lnTo>
                    <a:lnTo>
                      <a:pt x="566" y="653"/>
                    </a:lnTo>
                    <a:lnTo>
                      <a:pt x="557" y="589"/>
                    </a:lnTo>
                    <a:lnTo>
                      <a:pt x="557" y="516"/>
                    </a:lnTo>
                    <a:lnTo>
                      <a:pt x="546" y="462"/>
                    </a:lnTo>
                    <a:lnTo>
                      <a:pt x="492" y="417"/>
                    </a:lnTo>
                    <a:lnTo>
                      <a:pt x="438" y="407"/>
                    </a:lnTo>
                    <a:lnTo>
                      <a:pt x="492" y="374"/>
                    </a:lnTo>
                    <a:lnTo>
                      <a:pt x="534" y="332"/>
                    </a:lnTo>
                    <a:lnTo>
                      <a:pt x="608" y="236"/>
                    </a:lnTo>
                    <a:lnTo>
                      <a:pt x="619" y="181"/>
                    </a:lnTo>
                    <a:lnTo>
                      <a:pt x="500" y="162"/>
                    </a:lnTo>
                    <a:lnTo>
                      <a:pt x="438" y="151"/>
                    </a:lnTo>
                    <a:lnTo>
                      <a:pt x="480" y="97"/>
                    </a:lnTo>
                    <a:lnTo>
                      <a:pt x="557" y="63"/>
                    </a:lnTo>
                    <a:lnTo>
                      <a:pt x="557" y="32"/>
                    </a:lnTo>
                    <a:lnTo>
                      <a:pt x="480" y="20"/>
                    </a:lnTo>
                    <a:lnTo>
                      <a:pt x="415" y="0"/>
                    </a:lnTo>
                    <a:lnTo>
                      <a:pt x="373" y="55"/>
                    </a:lnTo>
                    <a:lnTo>
                      <a:pt x="320" y="97"/>
                    </a:lnTo>
                    <a:lnTo>
                      <a:pt x="300" y="139"/>
                    </a:lnTo>
                    <a:lnTo>
                      <a:pt x="266" y="109"/>
                    </a:lnTo>
                    <a:lnTo>
                      <a:pt x="234" y="119"/>
                    </a:lnTo>
                    <a:lnTo>
                      <a:pt x="257" y="162"/>
                    </a:lnTo>
                    <a:lnTo>
                      <a:pt x="311" y="181"/>
                    </a:lnTo>
                    <a:lnTo>
                      <a:pt x="257" y="246"/>
                    </a:lnTo>
                    <a:lnTo>
                      <a:pt x="234" y="289"/>
                    </a:lnTo>
                    <a:lnTo>
                      <a:pt x="300" y="278"/>
                    </a:lnTo>
                    <a:lnTo>
                      <a:pt x="266" y="343"/>
                    </a:lnTo>
                    <a:lnTo>
                      <a:pt x="204" y="374"/>
                    </a:lnTo>
                    <a:lnTo>
                      <a:pt x="246" y="385"/>
                    </a:lnTo>
                    <a:lnTo>
                      <a:pt x="234" y="439"/>
                    </a:lnTo>
                    <a:lnTo>
                      <a:pt x="288" y="385"/>
                    </a:lnTo>
                    <a:lnTo>
                      <a:pt x="311" y="450"/>
                    </a:lnTo>
                    <a:lnTo>
                      <a:pt x="257" y="524"/>
                    </a:lnTo>
                    <a:lnTo>
                      <a:pt x="266" y="578"/>
                    </a:lnTo>
                    <a:lnTo>
                      <a:pt x="407" y="566"/>
                    </a:lnTo>
                    <a:lnTo>
                      <a:pt x="362" y="620"/>
                    </a:lnTo>
                    <a:lnTo>
                      <a:pt x="385" y="673"/>
                    </a:lnTo>
                    <a:lnTo>
                      <a:pt x="427" y="685"/>
                    </a:lnTo>
                    <a:lnTo>
                      <a:pt x="385" y="738"/>
                    </a:lnTo>
                    <a:lnTo>
                      <a:pt x="362" y="804"/>
                    </a:lnTo>
                    <a:lnTo>
                      <a:pt x="311" y="804"/>
                    </a:lnTo>
                    <a:lnTo>
                      <a:pt x="234" y="770"/>
                    </a:lnTo>
                    <a:lnTo>
                      <a:pt x="234" y="804"/>
                    </a:lnTo>
                    <a:lnTo>
                      <a:pt x="192" y="846"/>
                    </a:lnTo>
                    <a:lnTo>
                      <a:pt x="246" y="857"/>
                    </a:lnTo>
                    <a:lnTo>
                      <a:pt x="224" y="931"/>
                    </a:lnTo>
                    <a:lnTo>
                      <a:pt x="117" y="965"/>
                    </a:lnTo>
                    <a:lnTo>
                      <a:pt x="117" y="1008"/>
                    </a:lnTo>
                    <a:lnTo>
                      <a:pt x="181" y="1015"/>
                    </a:lnTo>
                    <a:lnTo>
                      <a:pt x="224" y="1038"/>
                    </a:lnTo>
                    <a:lnTo>
                      <a:pt x="257" y="1092"/>
                    </a:lnTo>
                    <a:lnTo>
                      <a:pt x="331" y="1070"/>
                    </a:lnTo>
                    <a:lnTo>
                      <a:pt x="277" y="1123"/>
                    </a:lnTo>
                    <a:lnTo>
                      <a:pt x="181" y="1092"/>
                    </a:lnTo>
                    <a:lnTo>
                      <a:pt x="127" y="1145"/>
                    </a:lnTo>
                    <a:lnTo>
                      <a:pt x="0" y="1211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0" name="Freeform 14"/>
              <p:cNvSpPr>
                <a:spLocks/>
              </p:cNvSpPr>
              <p:nvPr/>
            </p:nvSpPr>
            <p:spPr bwMode="auto">
              <a:xfrm>
                <a:off x="3815646" y="3268835"/>
                <a:ext cx="321362" cy="271463"/>
              </a:xfrm>
              <a:custGeom>
                <a:avLst/>
                <a:gdLst>
                  <a:gd name="T0" fmla="*/ 597 w 438"/>
                  <a:gd name="T1" fmla="*/ 8444 h 416"/>
                  <a:gd name="T2" fmla="*/ 597 w 438"/>
                  <a:gd name="T3" fmla="*/ 8444 h 416"/>
                  <a:gd name="T4" fmla="*/ 597 w 438"/>
                  <a:gd name="T5" fmla="*/ 8444 h 416"/>
                  <a:gd name="T6" fmla="*/ 597 w 438"/>
                  <a:gd name="T7" fmla="*/ 8444 h 416"/>
                  <a:gd name="T8" fmla="*/ 597 w 438"/>
                  <a:gd name="T9" fmla="*/ 8444 h 416"/>
                  <a:gd name="T10" fmla="*/ 597 w 438"/>
                  <a:gd name="T11" fmla="*/ 8444 h 416"/>
                  <a:gd name="T12" fmla="*/ 597 w 438"/>
                  <a:gd name="T13" fmla="*/ 8444 h 416"/>
                  <a:gd name="T14" fmla="*/ 0 w 438"/>
                  <a:gd name="T15" fmla="*/ 8444 h 416"/>
                  <a:gd name="T16" fmla="*/ 597 w 438"/>
                  <a:gd name="T17" fmla="*/ 0 h 416"/>
                  <a:gd name="T18" fmla="*/ 597 w 438"/>
                  <a:gd name="T19" fmla="*/ 8444 h 416"/>
                  <a:gd name="T20" fmla="*/ 597 w 438"/>
                  <a:gd name="T21" fmla="*/ 8444 h 416"/>
                  <a:gd name="T22" fmla="*/ 597 w 438"/>
                  <a:gd name="T23" fmla="*/ 8444 h 416"/>
                  <a:gd name="T24" fmla="*/ 597 w 438"/>
                  <a:gd name="T25" fmla="*/ 8444 h 416"/>
                  <a:gd name="T26" fmla="*/ 597 w 438"/>
                  <a:gd name="T27" fmla="*/ 8444 h 416"/>
                  <a:gd name="T28" fmla="*/ 597 w 438"/>
                  <a:gd name="T29" fmla="*/ 8444 h 416"/>
                  <a:gd name="T30" fmla="*/ 597 w 438"/>
                  <a:gd name="T31" fmla="*/ 8444 h 416"/>
                  <a:gd name="T32" fmla="*/ 597 w 438"/>
                  <a:gd name="T33" fmla="*/ 8444 h 416"/>
                  <a:gd name="T34" fmla="*/ 597 w 438"/>
                  <a:gd name="T35" fmla="*/ 8444 h 416"/>
                  <a:gd name="T36" fmla="*/ 597 w 438"/>
                  <a:gd name="T37" fmla="*/ 8444 h 416"/>
                  <a:gd name="T38" fmla="*/ 597 w 438"/>
                  <a:gd name="T39" fmla="*/ 8444 h 416"/>
                  <a:gd name="T40" fmla="*/ 597 w 438"/>
                  <a:gd name="T41" fmla="*/ 8444 h 416"/>
                  <a:gd name="T42" fmla="*/ 597 w 438"/>
                  <a:gd name="T43" fmla="*/ 8444 h 416"/>
                  <a:gd name="T44" fmla="*/ 597 w 438"/>
                  <a:gd name="T45" fmla="*/ 8444 h 416"/>
                  <a:gd name="T46" fmla="*/ 597 w 438"/>
                  <a:gd name="T47" fmla="*/ 8444 h 416"/>
                  <a:gd name="T48" fmla="*/ 597 w 438"/>
                  <a:gd name="T49" fmla="*/ 8444 h 416"/>
                  <a:gd name="T50" fmla="*/ 597 w 438"/>
                  <a:gd name="T51" fmla="*/ 8444 h 416"/>
                  <a:gd name="T52" fmla="*/ 597 w 438"/>
                  <a:gd name="T53" fmla="*/ 8444 h 416"/>
                  <a:gd name="T54" fmla="*/ 597 w 438"/>
                  <a:gd name="T55" fmla="*/ 8444 h 416"/>
                  <a:gd name="T56" fmla="*/ 597 w 438"/>
                  <a:gd name="T57" fmla="*/ 8444 h 416"/>
                  <a:gd name="T58" fmla="*/ 597 w 438"/>
                  <a:gd name="T59" fmla="*/ 8444 h 416"/>
                  <a:gd name="T60" fmla="*/ 597 w 438"/>
                  <a:gd name="T61" fmla="*/ 8444 h 416"/>
                  <a:gd name="T62" fmla="*/ 597 w 438"/>
                  <a:gd name="T63" fmla="*/ 8444 h 41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438" h="416">
                    <a:moveTo>
                      <a:pt x="308" y="416"/>
                    </a:moveTo>
                    <a:lnTo>
                      <a:pt x="224" y="354"/>
                    </a:lnTo>
                    <a:lnTo>
                      <a:pt x="169" y="300"/>
                    </a:lnTo>
                    <a:lnTo>
                      <a:pt x="169" y="277"/>
                    </a:lnTo>
                    <a:lnTo>
                      <a:pt x="138" y="266"/>
                    </a:lnTo>
                    <a:lnTo>
                      <a:pt x="43" y="159"/>
                    </a:lnTo>
                    <a:lnTo>
                      <a:pt x="31" y="96"/>
                    </a:lnTo>
                    <a:lnTo>
                      <a:pt x="0" y="74"/>
                    </a:lnTo>
                    <a:lnTo>
                      <a:pt x="20" y="0"/>
                    </a:lnTo>
                    <a:lnTo>
                      <a:pt x="65" y="42"/>
                    </a:lnTo>
                    <a:lnTo>
                      <a:pt x="85" y="9"/>
                    </a:lnTo>
                    <a:lnTo>
                      <a:pt x="138" y="9"/>
                    </a:lnTo>
                    <a:lnTo>
                      <a:pt x="246" y="32"/>
                    </a:lnTo>
                    <a:lnTo>
                      <a:pt x="319" y="32"/>
                    </a:lnTo>
                    <a:lnTo>
                      <a:pt x="353" y="62"/>
                    </a:lnTo>
                    <a:lnTo>
                      <a:pt x="373" y="54"/>
                    </a:lnTo>
                    <a:lnTo>
                      <a:pt x="415" y="74"/>
                    </a:lnTo>
                    <a:lnTo>
                      <a:pt x="385" y="151"/>
                    </a:lnTo>
                    <a:lnTo>
                      <a:pt x="438" y="181"/>
                    </a:lnTo>
                    <a:lnTo>
                      <a:pt x="438" y="193"/>
                    </a:lnTo>
                    <a:lnTo>
                      <a:pt x="407" y="193"/>
                    </a:lnTo>
                    <a:lnTo>
                      <a:pt x="427" y="246"/>
                    </a:lnTo>
                    <a:lnTo>
                      <a:pt x="407" y="246"/>
                    </a:lnTo>
                    <a:lnTo>
                      <a:pt x="395" y="266"/>
                    </a:lnTo>
                    <a:lnTo>
                      <a:pt x="373" y="266"/>
                    </a:lnTo>
                    <a:lnTo>
                      <a:pt x="385" y="300"/>
                    </a:lnTo>
                    <a:lnTo>
                      <a:pt x="341" y="266"/>
                    </a:lnTo>
                    <a:lnTo>
                      <a:pt x="319" y="277"/>
                    </a:lnTo>
                    <a:lnTo>
                      <a:pt x="341" y="332"/>
                    </a:lnTo>
                    <a:lnTo>
                      <a:pt x="308" y="342"/>
                    </a:lnTo>
                    <a:lnTo>
                      <a:pt x="319" y="404"/>
                    </a:lnTo>
                    <a:lnTo>
                      <a:pt x="308" y="416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1" name="Freeform 15"/>
              <p:cNvSpPr>
                <a:spLocks/>
              </p:cNvSpPr>
              <p:nvPr/>
            </p:nvSpPr>
            <p:spPr bwMode="auto">
              <a:xfrm>
                <a:off x="2305894" y="2638598"/>
                <a:ext cx="938203" cy="860425"/>
              </a:xfrm>
              <a:custGeom>
                <a:avLst/>
                <a:gdLst>
                  <a:gd name="T0" fmla="*/ 636 w 1273"/>
                  <a:gd name="T1" fmla="*/ 8494 h 1318"/>
                  <a:gd name="T2" fmla="*/ 636 w 1273"/>
                  <a:gd name="T3" fmla="*/ 8494 h 1318"/>
                  <a:gd name="T4" fmla="*/ 636 w 1273"/>
                  <a:gd name="T5" fmla="*/ 8494 h 1318"/>
                  <a:gd name="T6" fmla="*/ 636 w 1273"/>
                  <a:gd name="T7" fmla="*/ 8494 h 1318"/>
                  <a:gd name="T8" fmla="*/ 636 w 1273"/>
                  <a:gd name="T9" fmla="*/ 8494 h 1318"/>
                  <a:gd name="T10" fmla="*/ 636 w 1273"/>
                  <a:gd name="T11" fmla="*/ 8494 h 1318"/>
                  <a:gd name="T12" fmla="*/ 636 w 1273"/>
                  <a:gd name="T13" fmla="*/ 8494 h 1318"/>
                  <a:gd name="T14" fmla="*/ 636 w 1273"/>
                  <a:gd name="T15" fmla="*/ 8494 h 1318"/>
                  <a:gd name="T16" fmla="*/ 636 w 1273"/>
                  <a:gd name="T17" fmla="*/ 8494 h 1318"/>
                  <a:gd name="T18" fmla="*/ 636 w 1273"/>
                  <a:gd name="T19" fmla="*/ 8494 h 1318"/>
                  <a:gd name="T20" fmla="*/ 636 w 1273"/>
                  <a:gd name="T21" fmla="*/ 8494 h 1318"/>
                  <a:gd name="T22" fmla="*/ 636 w 1273"/>
                  <a:gd name="T23" fmla="*/ 8494 h 1318"/>
                  <a:gd name="T24" fmla="*/ 636 w 1273"/>
                  <a:gd name="T25" fmla="*/ 8494 h 1318"/>
                  <a:gd name="T26" fmla="*/ 636 w 1273"/>
                  <a:gd name="T27" fmla="*/ 8494 h 1318"/>
                  <a:gd name="T28" fmla="*/ 636 w 1273"/>
                  <a:gd name="T29" fmla="*/ 8494 h 1318"/>
                  <a:gd name="T30" fmla="*/ 636 w 1273"/>
                  <a:gd name="T31" fmla="*/ 8494 h 1318"/>
                  <a:gd name="T32" fmla="*/ 636 w 1273"/>
                  <a:gd name="T33" fmla="*/ 8494 h 1318"/>
                  <a:gd name="T34" fmla="*/ 636 w 1273"/>
                  <a:gd name="T35" fmla="*/ 8494 h 1318"/>
                  <a:gd name="T36" fmla="*/ 636 w 1273"/>
                  <a:gd name="T37" fmla="*/ 8494 h 1318"/>
                  <a:gd name="T38" fmla="*/ 636 w 1273"/>
                  <a:gd name="T39" fmla="*/ 8494 h 1318"/>
                  <a:gd name="T40" fmla="*/ 636 w 1273"/>
                  <a:gd name="T41" fmla="*/ 8494 h 1318"/>
                  <a:gd name="T42" fmla="*/ 636 w 1273"/>
                  <a:gd name="T43" fmla="*/ 8494 h 1318"/>
                  <a:gd name="T44" fmla="*/ 636 w 1273"/>
                  <a:gd name="T45" fmla="*/ 8494 h 1318"/>
                  <a:gd name="T46" fmla="*/ 636 w 1273"/>
                  <a:gd name="T47" fmla="*/ 8494 h 1318"/>
                  <a:gd name="T48" fmla="*/ 636 w 1273"/>
                  <a:gd name="T49" fmla="*/ 8494 h 1318"/>
                  <a:gd name="T50" fmla="*/ 636 w 1273"/>
                  <a:gd name="T51" fmla="*/ 8494 h 1318"/>
                  <a:gd name="T52" fmla="*/ 636 w 1273"/>
                  <a:gd name="T53" fmla="*/ 8494 h 1318"/>
                  <a:gd name="T54" fmla="*/ 636 w 1273"/>
                  <a:gd name="T55" fmla="*/ 8494 h 1318"/>
                  <a:gd name="T56" fmla="*/ 636 w 1273"/>
                  <a:gd name="T57" fmla="*/ 8494 h 1318"/>
                  <a:gd name="T58" fmla="*/ 636 w 1273"/>
                  <a:gd name="T59" fmla="*/ 8494 h 1318"/>
                  <a:gd name="T60" fmla="*/ 636 w 1273"/>
                  <a:gd name="T61" fmla="*/ 8494 h 1318"/>
                  <a:gd name="T62" fmla="*/ 636 w 1273"/>
                  <a:gd name="T63" fmla="*/ 8494 h 1318"/>
                  <a:gd name="T64" fmla="*/ 636 w 1273"/>
                  <a:gd name="T65" fmla="*/ 8494 h 1318"/>
                  <a:gd name="T66" fmla="*/ 636 w 1273"/>
                  <a:gd name="T67" fmla="*/ 8494 h 1318"/>
                  <a:gd name="T68" fmla="*/ 636 w 1273"/>
                  <a:gd name="T69" fmla="*/ 8494 h 1318"/>
                  <a:gd name="T70" fmla="*/ 636 w 1273"/>
                  <a:gd name="T71" fmla="*/ 8494 h 1318"/>
                  <a:gd name="T72" fmla="*/ 636 w 1273"/>
                  <a:gd name="T73" fmla="*/ 8494 h 1318"/>
                  <a:gd name="T74" fmla="*/ 636 w 1273"/>
                  <a:gd name="T75" fmla="*/ 8494 h 1318"/>
                  <a:gd name="T76" fmla="*/ 636 w 1273"/>
                  <a:gd name="T77" fmla="*/ 8494 h 1318"/>
                  <a:gd name="T78" fmla="*/ 636 w 1273"/>
                  <a:gd name="T79" fmla="*/ 8494 h 1318"/>
                  <a:gd name="T80" fmla="*/ 636 w 1273"/>
                  <a:gd name="T81" fmla="*/ 8494 h 1318"/>
                  <a:gd name="T82" fmla="*/ 636 w 1273"/>
                  <a:gd name="T83" fmla="*/ 8494 h 1318"/>
                  <a:gd name="T84" fmla="*/ 636 w 1273"/>
                  <a:gd name="T85" fmla="*/ 8494 h 1318"/>
                  <a:gd name="T86" fmla="*/ 636 w 1273"/>
                  <a:gd name="T87" fmla="*/ 8494 h 1318"/>
                  <a:gd name="T88" fmla="*/ 636 w 1273"/>
                  <a:gd name="T89" fmla="*/ 8494 h 131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73" h="1318">
                    <a:moveTo>
                      <a:pt x="117" y="1060"/>
                    </a:moveTo>
                    <a:lnTo>
                      <a:pt x="150" y="1103"/>
                    </a:lnTo>
                    <a:lnTo>
                      <a:pt x="170" y="1123"/>
                    </a:lnTo>
                    <a:lnTo>
                      <a:pt x="257" y="1187"/>
                    </a:lnTo>
                    <a:lnTo>
                      <a:pt x="311" y="1210"/>
                    </a:lnTo>
                    <a:lnTo>
                      <a:pt x="353" y="1219"/>
                    </a:lnTo>
                    <a:lnTo>
                      <a:pt x="395" y="1210"/>
                    </a:lnTo>
                    <a:lnTo>
                      <a:pt x="438" y="1252"/>
                    </a:lnTo>
                    <a:lnTo>
                      <a:pt x="469" y="1272"/>
                    </a:lnTo>
                    <a:lnTo>
                      <a:pt x="512" y="1296"/>
                    </a:lnTo>
                    <a:lnTo>
                      <a:pt x="641" y="1318"/>
                    </a:lnTo>
                    <a:lnTo>
                      <a:pt x="631" y="1219"/>
                    </a:lnTo>
                    <a:lnTo>
                      <a:pt x="695" y="1199"/>
                    </a:lnTo>
                    <a:lnTo>
                      <a:pt x="750" y="1167"/>
                    </a:lnTo>
                    <a:lnTo>
                      <a:pt x="812" y="1199"/>
                    </a:lnTo>
                    <a:lnTo>
                      <a:pt x="888" y="1219"/>
                    </a:lnTo>
                    <a:lnTo>
                      <a:pt x="941" y="1272"/>
                    </a:lnTo>
                    <a:lnTo>
                      <a:pt x="1003" y="1264"/>
                    </a:lnTo>
                    <a:lnTo>
                      <a:pt x="1060" y="1219"/>
                    </a:lnTo>
                    <a:lnTo>
                      <a:pt x="1134" y="1187"/>
                    </a:lnTo>
                    <a:lnTo>
                      <a:pt x="1145" y="1167"/>
                    </a:lnTo>
                    <a:lnTo>
                      <a:pt x="1145" y="1115"/>
                    </a:lnTo>
                    <a:lnTo>
                      <a:pt x="1112" y="1103"/>
                    </a:lnTo>
                    <a:lnTo>
                      <a:pt x="1092" y="1080"/>
                    </a:lnTo>
                    <a:lnTo>
                      <a:pt x="1092" y="1038"/>
                    </a:lnTo>
                    <a:lnTo>
                      <a:pt x="1080" y="996"/>
                    </a:lnTo>
                    <a:lnTo>
                      <a:pt x="1112" y="911"/>
                    </a:lnTo>
                    <a:lnTo>
                      <a:pt x="1122" y="846"/>
                    </a:lnTo>
                    <a:lnTo>
                      <a:pt x="1100" y="815"/>
                    </a:lnTo>
                    <a:lnTo>
                      <a:pt x="1100" y="760"/>
                    </a:lnTo>
                    <a:lnTo>
                      <a:pt x="1068" y="760"/>
                    </a:lnTo>
                    <a:lnTo>
                      <a:pt x="1038" y="792"/>
                    </a:lnTo>
                    <a:lnTo>
                      <a:pt x="1026" y="750"/>
                    </a:lnTo>
                    <a:lnTo>
                      <a:pt x="1080" y="685"/>
                    </a:lnTo>
                    <a:lnTo>
                      <a:pt x="1122" y="631"/>
                    </a:lnTo>
                    <a:lnTo>
                      <a:pt x="1145" y="599"/>
                    </a:lnTo>
                    <a:lnTo>
                      <a:pt x="1176" y="611"/>
                    </a:lnTo>
                    <a:lnTo>
                      <a:pt x="1207" y="589"/>
                    </a:lnTo>
                    <a:lnTo>
                      <a:pt x="1207" y="557"/>
                    </a:lnTo>
                    <a:lnTo>
                      <a:pt x="1241" y="450"/>
                    </a:lnTo>
                    <a:lnTo>
                      <a:pt x="1273" y="415"/>
                    </a:lnTo>
                    <a:lnTo>
                      <a:pt x="1253" y="373"/>
                    </a:lnTo>
                    <a:lnTo>
                      <a:pt x="1164" y="343"/>
                    </a:lnTo>
                    <a:lnTo>
                      <a:pt x="1145" y="323"/>
                    </a:lnTo>
                    <a:lnTo>
                      <a:pt x="1112" y="289"/>
                    </a:lnTo>
                    <a:lnTo>
                      <a:pt x="1092" y="289"/>
                    </a:lnTo>
                    <a:lnTo>
                      <a:pt x="1060" y="278"/>
                    </a:lnTo>
                    <a:lnTo>
                      <a:pt x="1026" y="266"/>
                    </a:lnTo>
                    <a:lnTo>
                      <a:pt x="995" y="236"/>
                    </a:lnTo>
                    <a:lnTo>
                      <a:pt x="1003" y="224"/>
                    </a:lnTo>
                    <a:lnTo>
                      <a:pt x="995" y="182"/>
                    </a:lnTo>
                    <a:lnTo>
                      <a:pt x="961" y="204"/>
                    </a:lnTo>
                    <a:lnTo>
                      <a:pt x="931" y="193"/>
                    </a:lnTo>
                    <a:lnTo>
                      <a:pt x="919" y="139"/>
                    </a:lnTo>
                    <a:lnTo>
                      <a:pt x="876" y="108"/>
                    </a:lnTo>
                    <a:lnTo>
                      <a:pt x="857" y="65"/>
                    </a:lnTo>
                    <a:lnTo>
                      <a:pt x="812" y="55"/>
                    </a:lnTo>
                    <a:lnTo>
                      <a:pt x="822" y="12"/>
                    </a:lnTo>
                    <a:lnTo>
                      <a:pt x="822" y="0"/>
                    </a:lnTo>
                    <a:lnTo>
                      <a:pt x="715" y="32"/>
                    </a:lnTo>
                    <a:lnTo>
                      <a:pt x="685" y="74"/>
                    </a:lnTo>
                    <a:lnTo>
                      <a:pt x="661" y="139"/>
                    </a:lnTo>
                    <a:lnTo>
                      <a:pt x="619" y="150"/>
                    </a:lnTo>
                    <a:lnTo>
                      <a:pt x="566" y="150"/>
                    </a:lnTo>
                    <a:lnTo>
                      <a:pt x="524" y="174"/>
                    </a:lnTo>
                    <a:lnTo>
                      <a:pt x="492" y="224"/>
                    </a:lnTo>
                    <a:lnTo>
                      <a:pt x="438" y="204"/>
                    </a:lnTo>
                    <a:lnTo>
                      <a:pt x="395" y="204"/>
                    </a:lnTo>
                    <a:lnTo>
                      <a:pt x="385" y="139"/>
                    </a:lnTo>
                    <a:lnTo>
                      <a:pt x="331" y="127"/>
                    </a:lnTo>
                    <a:lnTo>
                      <a:pt x="343" y="204"/>
                    </a:lnTo>
                    <a:lnTo>
                      <a:pt x="331" y="300"/>
                    </a:lnTo>
                    <a:lnTo>
                      <a:pt x="277" y="278"/>
                    </a:lnTo>
                    <a:lnTo>
                      <a:pt x="212" y="278"/>
                    </a:lnTo>
                    <a:lnTo>
                      <a:pt x="192" y="224"/>
                    </a:lnTo>
                    <a:lnTo>
                      <a:pt x="127" y="216"/>
                    </a:lnTo>
                    <a:lnTo>
                      <a:pt x="63" y="224"/>
                    </a:lnTo>
                    <a:lnTo>
                      <a:pt x="8" y="224"/>
                    </a:lnTo>
                    <a:lnTo>
                      <a:pt x="0" y="300"/>
                    </a:lnTo>
                    <a:lnTo>
                      <a:pt x="31" y="331"/>
                    </a:lnTo>
                    <a:lnTo>
                      <a:pt x="73" y="343"/>
                    </a:lnTo>
                    <a:lnTo>
                      <a:pt x="127" y="397"/>
                    </a:lnTo>
                    <a:lnTo>
                      <a:pt x="192" y="427"/>
                    </a:lnTo>
                    <a:lnTo>
                      <a:pt x="234" y="515"/>
                    </a:lnTo>
                    <a:lnTo>
                      <a:pt x="212" y="557"/>
                    </a:lnTo>
                    <a:lnTo>
                      <a:pt x="224" y="599"/>
                    </a:lnTo>
                    <a:lnTo>
                      <a:pt x="266" y="643"/>
                    </a:lnTo>
                    <a:lnTo>
                      <a:pt x="277" y="718"/>
                    </a:lnTo>
                    <a:lnTo>
                      <a:pt x="224" y="877"/>
                    </a:lnTo>
                    <a:lnTo>
                      <a:pt x="159" y="1018"/>
                    </a:lnTo>
                    <a:lnTo>
                      <a:pt x="117" y="106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chemeClr val="accent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2" name="Freeform 16"/>
              <p:cNvSpPr>
                <a:spLocks/>
              </p:cNvSpPr>
              <p:nvPr/>
            </p:nvSpPr>
            <p:spPr bwMode="auto">
              <a:xfrm>
                <a:off x="1740815" y="3164060"/>
                <a:ext cx="1035259" cy="793750"/>
              </a:xfrm>
              <a:custGeom>
                <a:avLst/>
                <a:gdLst>
                  <a:gd name="T0" fmla="*/ 653 w 1402"/>
                  <a:gd name="T1" fmla="*/ 8288 h 1218"/>
                  <a:gd name="T2" fmla="*/ 653 w 1402"/>
                  <a:gd name="T3" fmla="*/ 8288 h 1218"/>
                  <a:gd name="T4" fmla="*/ 653 w 1402"/>
                  <a:gd name="T5" fmla="*/ 8288 h 1218"/>
                  <a:gd name="T6" fmla="*/ 653 w 1402"/>
                  <a:gd name="T7" fmla="*/ 8288 h 1218"/>
                  <a:gd name="T8" fmla="*/ 653 w 1402"/>
                  <a:gd name="T9" fmla="*/ 8288 h 1218"/>
                  <a:gd name="T10" fmla="*/ 653 w 1402"/>
                  <a:gd name="T11" fmla="*/ 8288 h 1218"/>
                  <a:gd name="T12" fmla="*/ 653 w 1402"/>
                  <a:gd name="T13" fmla="*/ 8288 h 1218"/>
                  <a:gd name="T14" fmla="*/ 653 w 1402"/>
                  <a:gd name="T15" fmla="*/ 8288 h 1218"/>
                  <a:gd name="T16" fmla="*/ 653 w 1402"/>
                  <a:gd name="T17" fmla="*/ 8288 h 1218"/>
                  <a:gd name="T18" fmla="*/ 653 w 1402"/>
                  <a:gd name="T19" fmla="*/ 8288 h 1218"/>
                  <a:gd name="T20" fmla="*/ 653 w 1402"/>
                  <a:gd name="T21" fmla="*/ 8288 h 1218"/>
                  <a:gd name="T22" fmla="*/ 653 w 1402"/>
                  <a:gd name="T23" fmla="*/ 8288 h 1218"/>
                  <a:gd name="T24" fmla="*/ 653 w 1402"/>
                  <a:gd name="T25" fmla="*/ 8288 h 1218"/>
                  <a:gd name="T26" fmla="*/ 653 w 1402"/>
                  <a:gd name="T27" fmla="*/ 8288 h 1218"/>
                  <a:gd name="T28" fmla="*/ 653 w 1402"/>
                  <a:gd name="T29" fmla="*/ 8288 h 1218"/>
                  <a:gd name="T30" fmla="*/ 653 w 1402"/>
                  <a:gd name="T31" fmla="*/ 8288 h 1218"/>
                  <a:gd name="T32" fmla="*/ 653 w 1402"/>
                  <a:gd name="T33" fmla="*/ 8288 h 1218"/>
                  <a:gd name="T34" fmla="*/ 653 w 1402"/>
                  <a:gd name="T35" fmla="*/ 8288 h 1218"/>
                  <a:gd name="T36" fmla="*/ 653 w 1402"/>
                  <a:gd name="T37" fmla="*/ 8288 h 1218"/>
                  <a:gd name="T38" fmla="*/ 653 w 1402"/>
                  <a:gd name="T39" fmla="*/ 8288 h 1218"/>
                  <a:gd name="T40" fmla="*/ 653 w 1402"/>
                  <a:gd name="T41" fmla="*/ 8288 h 1218"/>
                  <a:gd name="T42" fmla="*/ 0 w 1402"/>
                  <a:gd name="T43" fmla="*/ 8288 h 1218"/>
                  <a:gd name="T44" fmla="*/ 653 w 1402"/>
                  <a:gd name="T45" fmla="*/ 8288 h 1218"/>
                  <a:gd name="T46" fmla="*/ 653 w 1402"/>
                  <a:gd name="T47" fmla="*/ 8288 h 1218"/>
                  <a:gd name="T48" fmla="*/ 653 w 1402"/>
                  <a:gd name="T49" fmla="*/ 8288 h 1218"/>
                  <a:gd name="T50" fmla="*/ 653 w 1402"/>
                  <a:gd name="T51" fmla="*/ 8288 h 1218"/>
                  <a:gd name="T52" fmla="*/ 653 w 1402"/>
                  <a:gd name="T53" fmla="*/ 8288 h 1218"/>
                  <a:gd name="T54" fmla="*/ 653 w 1402"/>
                  <a:gd name="T55" fmla="*/ 8288 h 1218"/>
                  <a:gd name="T56" fmla="*/ 653 w 1402"/>
                  <a:gd name="T57" fmla="*/ 8288 h 1218"/>
                  <a:gd name="T58" fmla="*/ 653 w 1402"/>
                  <a:gd name="T59" fmla="*/ 8288 h 1218"/>
                  <a:gd name="T60" fmla="*/ 653 w 1402"/>
                  <a:gd name="T61" fmla="*/ 8288 h 1218"/>
                  <a:gd name="T62" fmla="*/ 653 w 1402"/>
                  <a:gd name="T63" fmla="*/ 8288 h 1218"/>
                  <a:gd name="T64" fmla="*/ 653 w 1402"/>
                  <a:gd name="T65" fmla="*/ 8288 h 1218"/>
                  <a:gd name="T66" fmla="*/ 653 w 1402"/>
                  <a:gd name="T67" fmla="*/ 8288 h 1218"/>
                  <a:gd name="T68" fmla="*/ 653 w 1402"/>
                  <a:gd name="T69" fmla="*/ 8288 h 1218"/>
                  <a:gd name="T70" fmla="*/ 653 w 1402"/>
                  <a:gd name="T71" fmla="*/ 8288 h 1218"/>
                  <a:gd name="T72" fmla="*/ 653 w 1402"/>
                  <a:gd name="T73" fmla="*/ 8288 h 1218"/>
                  <a:gd name="T74" fmla="*/ 653 w 1402"/>
                  <a:gd name="T75" fmla="*/ 8288 h 1218"/>
                  <a:gd name="T76" fmla="*/ 653 w 1402"/>
                  <a:gd name="T77" fmla="*/ 8288 h 1218"/>
                  <a:gd name="T78" fmla="*/ 653 w 1402"/>
                  <a:gd name="T79" fmla="*/ 8288 h 1218"/>
                  <a:gd name="T80" fmla="*/ 653 w 1402"/>
                  <a:gd name="T81" fmla="*/ 8288 h 1218"/>
                  <a:gd name="T82" fmla="*/ 653 w 1402"/>
                  <a:gd name="T83" fmla="*/ 8288 h 1218"/>
                  <a:gd name="T84" fmla="*/ 653 w 1402"/>
                  <a:gd name="T85" fmla="*/ 8288 h 1218"/>
                  <a:gd name="T86" fmla="*/ 653 w 1402"/>
                  <a:gd name="T87" fmla="*/ 8288 h 1218"/>
                  <a:gd name="T88" fmla="*/ 653 w 1402"/>
                  <a:gd name="T89" fmla="*/ 8288 h 1218"/>
                  <a:gd name="T90" fmla="*/ 653 w 1402"/>
                  <a:gd name="T91" fmla="*/ 0 h 1218"/>
                  <a:gd name="T92" fmla="*/ 653 w 1402"/>
                  <a:gd name="T93" fmla="*/ 8288 h 1218"/>
                  <a:gd name="T94" fmla="*/ 653 w 1402"/>
                  <a:gd name="T95" fmla="*/ 8288 h 1218"/>
                  <a:gd name="T96" fmla="*/ 653 w 1402"/>
                  <a:gd name="T97" fmla="*/ 8288 h 1218"/>
                  <a:gd name="T98" fmla="*/ 653 w 1402"/>
                  <a:gd name="T99" fmla="*/ 8288 h 1218"/>
                  <a:gd name="T100" fmla="*/ 653 w 1402"/>
                  <a:gd name="T101" fmla="*/ 8288 h 1218"/>
                  <a:gd name="T102" fmla="*/ 653 w 1402"/>
                  <a:gd name="T103" fmla="*/ 8288 h 1218"/>
                  <a:gd name="T104" fmla="*/ 653 w 1402"/>
                  <a:gd name="T105" fmla="*/ 8288 h 1218"/>
                  <a:gd name="T106" fmla="*/ 653 w 1402"/>
                  <a:gd name="T107" fmla="*/ 8288 h 1218"/>
                  <a:gd name="T108" fmla="*/ 653 w 1402"/>
                  <a:gd name="T109" fmla="*/ 8288 h 1218"/>
                  <a:gd name="T110" fmla="*/ 653 w 1402"/>
                  <a:gd name="T111" fmla="*/ 8288 h 1218"/>
                  <a:gd name="T112" fmla="*/ 653 w 1402"/>
                  <a:gd name="T113" fmla="*/ 8288 h 1218"/>
                  <a:gd name="T114" fmla="*/ 653 w 1402"/>
                  <a:gd name="T115" fmla="*/ 8288 h 1218"/>
                  <a:gd name="T116" fmla="*/ 653 w 1402"/>
                  <a:gd name="T117" fmla="*/ 8288 h 1218"/>
                  <a:gd name="T118" fmla="*/ 653 w 1402"/>
                  <a:gd name="T119" fmla="*/ 8288 h 1218"/>
                  <a:gd name="T120" fmla="*/ 653 w 1402"/>
                  <a:gd name="T121" fmla="*/ 8288 h 1218"/>
                  <a:gd name="T122" fmla="*/ 653 w 1402"/>
                  <a:gd name="T123" fmla="*/ 8288 h 12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402" h="1218">
                    <a:moveTo>
                      <a:pt x="1230" y="469"/>
                    </a:moveTo>
                    <a:lnTo>
                      <a:pt x="1273" y="493"/>
                    </a:lnTo>
                    <a:lnTo>
                      <a:pt x="1402" y="515"/>
                    </a:lnTo>
                    <a:lnTo>
                      <a:pt x="1380" y="588"/>
                    </a:lnTo>
                    <a:lnTo>
                      <a:pt x="1241" y="653"/>
                    </a:lnTo>
                    <a:lnTo>
                      <a:pt x="1104" y="672"/>
                    </a:lnTo>
                    <a:lnTo>
                      <a:pt x="900" y="868"/>
                    </a:lnTo>
                    <a:lnTo>
                      <a:pt x="900" y="930"/>
                    </a:lnTo>
                    <a:lnTo>
                      <a:pt x="953" y="995"/>
                    </a:lnTo>
                    <a:lnTo>
                      <a:pt x="868" y="1027"/>
                    </a:lnTo>
                    <a:lnTo>
                      <a:pt x="814" y="1060"/>
                    </a:lnTo>
                    <a:lnTo>
                      <a:pt x="781" y="1122"/>
                    </a:lnTo>
                    <a:lnTo>
                      <a:pt x="719" y="1102"/>
                    </a:lnTo>
                    <a:lnTo>
                      <a:pt x="643" y="1168"/>
                    </a:lnTo>
                    <a:lnTo>
                      <a:pt x="588" y="1218"/>
                    </a:lnTo>
                    <a:lnTo>
                      <a:pt x="374" y="1168"/>
                    </a:lnTo>
                    <a:lnTo>
                      <a:pt x="300" y="1156"/>
                    </a:lnTo>
                    <a:lnTo>
                      <a:pt x="236" y="1156"/>
                    </a:lnTo>
                    <a:lnTo>
                      <a:pt x="151" y="1198"/>
                    </a:lnTo>
                    <a:lnTo>
                      <a:pt x="97" y="1156"/>
                    </a:lnTo>
                    <a:lnTo>
                      <a:pt x="74" y="1027"/>
                    </a:lnTo>
                    <a:lnTo>
                      <a:pt x="0" y="972"/>
                    </a:lnTo>
                    <a:lnTo>
                      <a:pt x="12" y="910"/>
                    </a:lnTo>
                    <a:lnTo>
                      <a:pt x="65" y="876"/>
                    </a:lnTo>
                    <a:lnTo>
                      <a:pt x="85" y="846"/>
                    </a:lnTo>
                    <a:lnTo>
                      <a:pt x="74" y="781"/>
                    </a:lnTo>
                    <a:lnTo>
                      <a:pt x="109" y="739"/>
                    </a:lnTo>
                    <a:lnTo>
                      <a:pt x="119" y="684"/>
                    </a:lnTo>
                    <a:lnTo>
                      <a:pt x="119" y="630"/>
                    </a:lnTo>
                    <a:lnTo>
                      <a:pt x="162" y="620"/>
                    </a:lnTo>
                    <a:lnTo>
                      <a:pt x="193" y="588"/>
                    </a:lnTo>
                    <a:lnTo>
                      <a:pt x="236" y="469"/>
                    </a:lnTo>
                    <a:lnTo>
                      <a:pt x="332" y="396"/>
                    </a:lnTo>
                    <a:lnTo>
                      <a:pt x="320" y="331"/>
                    </a:lnTo>
                    <a:lnTo>
                      <a:pt x="258" y="312"/>
                    </a:lnTo>
                    <a:lnTo>
                      <a:pt x="193" y="300"/>
                    </a:lnTo>
                    <a:lnTo>
                      <a:pt x="151" y="289"/>
                    </a:lnTo>
                    <a:lnTo>
                      <a:pt x="119" y="235"/>
                    </a:lnTo>
                    <a:lnTo>
                      <a:pt x="65" y="257"/>
                    </a:lnTo>
                    <a:lnTo>
                      <a:pt x="55" y="257"/>
                    </a:lnTo>
                    <a:lnTo>
                      <a:pt x="55" y="223"/>
                    </a:lnTo>
                    <a:lnTo>
                      <a:pt x="74" y="170"/>
                    </a:lnTo>
                    <a:lnTo>
                      <a:pt x="65" y="66"/>
                    </a:lnTo>
                    <a:lnTo>
                      <a:pt x="109" y="43"/>
                    </a:lnTo>
                    <a:lnTo>
                      <a:pt x="171" y="54"/>
                    </a:lnTo>
                    <a:lnTo>
                      <a:pt x="224" y="0"/>
                    </a:lnTo>
                    <a:lnTo>
                      <a:pt x="290" y="66"/>
                    </a:lnTo>
                    <a:lnTo>
                      <a:pt x="365" y="86"/>
                    </a:lnTo>
                    <a:lnTo>
                      <a:pt x="450" y="108"/>
                    </a:lnTo>
                    <a:lnTo>
                      <a:pt x="524" y="138"/>
                    </a:lnTo>
                    <a:lnTo>
                      <a:pt x="588" y="181"/>
                    </a:lnTo>
                    <a:lnTo>
                      <a:pt x="685" y="181"/>
                    </a:lnTo>
                    <a:lnTo>
                      <a:pt x="834" y="247"/>
                    </a:lnTo>
                    <a:lnTo>
                      <a:pt x="878" y="257"/>
                    </a:lnTo>
                    <a:lnTo>
                      <a:pt x="911" y="300"/>
                    </a:lnTo>
                    <a:lnTo>
                      <a:pt x="931" y="320"/>
                    </a:lnTo>
                    <a:lnTo>
                      <a:pt x="1018" y="384"/>
                    </a:lnTo>
                    <a:lnTo>
                      <a:pt x="1072" y="407"/>
                    </a:lnTo>
                    <a:lnTo>
                      <a:pt x="1114" y="416"/>
                    </a:lnTo>
                    <a:lnTo>
                      <a:pt x="1156" y="407"/>
                    </a:lnTo>
                    <a:lnTo>
                      <a:pt x="1199" y="449"/>
                    </a:lnTo>
                    <a:lnTo>
                      <a:pt x="1230" y="469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mpd="sng">
                    <a:solidFill>
                      <a:schemeClr val="accent2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3" name="Freeform 17"/>
              <p:cNvSpPr>
                <a:spLocks/>
              </p:cNvSpPr>
              <p:nvPr/>
            </p:nvSpPr>
            <p:spPr bwMode="auto">
              <a:xfrm>
                <a:off x="3884664" y="2837035"/>
                <a:ext cx="416260" cy="193675"/>
              </a:xfrm>
              <a:custGeom>
                <a:avLst/>
                <a:gdLst>
                  <a:gd name="T0" fmla="*/ 0 w 566"/>
                  <a:gd name="T1" fmla="*/ 8768 h 296"/>
                  <a:gd name="T2" fmla="*/ 617 w 566"/>
                  <a:gd name="T3" fmla="*/ 8768 h 296"/>
                  <a:gd name="T4" fmla="*/ 617 w 566"/>
                  <a:gd name="T5" fmla="*/ 8768 h 296"/>
                  <a:gd name="T6" fmla="*/ 617 w 566"/>
                  <a:gd name="T7" fmla="*/ 8768 h 296"/>
                  <a:gd name="T8" fmla="*/ 617 w 566"/>
                  <a:gd name="T9" fmla="*/ 8768 h 296"/>
                  <a:gd name="T10" fmla="*/ 617 w 566"/>
                  <a:gd name="T11" fmla="*/ 8768 h 296"/>
                  <a:gd name="T12" fmla="*/ 617 w 566"/>
                  <a:gd name="T13" fmla="*/ 8768 h 296"/>
                  <a:gd name="T14" fmla="*/ 617 w 566"/>
                  <a:gd name="T15" fmla="*/ 8768 h 296"/>
                  <a:gd name="T16" fmla="*/ 617 w 566"/>
                  <a:gd name="T17" fmla="*/ 8768 h 296"/>
                  <a:gd name="T18" fmla="*/ 617 w 566"/>
                  <a:gd name="T19" fmla="*/ 8768 h 296"/>
                  <a:gd name="T20" fmla="*/ 617 w 566"/>
                  <a:gd name="T21" fmla="*/ 8768 h 296"/>
                  <a:gd name="T22" fmla="*/ 617 w 566"/>
                  <a:gd name="T23" fmla="*/ 8768 h 296"/>
                  <a:gd name="T24" fmla="*/ 617 w 566"/>
                  <a:gd name="T25" fmla="*/ 8768 h 296"/>
                  <a:gd name="T26" fmla="*/ 617 w 566"/>
                  <a:gd name="T27" fmla="*/ 8768 h 296"/>
                  <a:gd name="T28" fmla="*/ 617 w 566"/>
                  <a:gd name="T29" fmla="*/ 8768 h 296"/>
                  <a:gd name="T30" fmla="*/ 617 w 566"/>
                  <a:gd name="T31" fmla="*/ 8768 h 296"/>
                  <a:gd name="T32" fmla="*/ 617 w 566"/>
                  <a:gd name="T33" fmla="*/ 8768 h 296"/>
                  <a:gd name="T34" fmla="*/ 617 w 566"/>
                  <a:gd name="T35" fmla="*/ 8768 h 296"/>
                  <a:gd name="T36" fmla="*/ 617 w 566"/>
                  <a:gd name="T37" fmla="*/ 8768 h 296"/>
                  <a:gd name="T38" fmla="*/ 617 w 566"/>
                  <a:gd name="T39" fmla="*/ 8768 h 296"/>
                  <a:gd name="T40" fmla="*/ 617 w 566"/>
                  <a:gd name="T41" fmla="*/ 0 h 296"/>
                  <a:gd name="T42" fmla="*/ 0 w 566"/>
                  <a:gd name="T43" fmla="*/ 8768 h 29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566" h="296">
                    <a:moveTo>
                      <a:pt x="0" y="147"/>
                    </a:moveTo>
                    <a:lnTo>
                      <a:pt x="43" y="254"/>
                    </a:lnTo>
                    <a:lnTo>
                      <a:pt x="109" y="296"/>
                    </a:lnTo>
                    <a:lnTo>
                      <a:pt x="139" y="296"/>
                    </a:lnTo>
                    <a:lnTo>
                      <a:pt x="171" y="296"/>
                    </a:lnTo>
                    <a:lnTo>
                      <a:pt x="300" y="221"/>
                    </a:lnTo>
                    <a:lnTo>
                      <a:pt x="354" y="212"/>
                    </a:lnTo>
                    <a:lnTo>
                      <a:pt x="374" y="189"/>
                    </a:lnTo>
                    <a:lnTo>
                      <a:pt x="407" y="169"/>
                    </a:lnTo>
                    <a:lnTo>
                      <a:pt x="462" y="159"/>
                    </a:lnTo>
                    <a:lnTo>
                      <a:pt x="546" y="179"/>
                    </a:lnTo>
                    <a:lnTo>
                      <a:pt x="566" y="62"/>
                    </a:lnTo>
                    <a:lnTo>
                      <a:pt x="546" y="62"/>
                    </a:lnTo>
                    <a:lnTo>
                      <a:pt x="513" y="28"/>
                    </a:lnTo>
                    <a:lnTo>
                      <a:pt x="462" y="20"/>
                    </a:lnTo>
                    <a:lnTo>
                      <a:pt x="427" y="40"/>
                    </a:lnTo>
                    <a:lnTo>
                      <a:pt x="362" y="40"/>
                    </a:lnTo>
                    <a:lnTo>
                      <a:pt x="332" y="70"/>
                    </a:lnTo>
                    <a:lnTo>
                      <a:pt x="266" y="20"/>
                    </a:lnTo>
                    <a:lnTo>
                      <a:pt x="224" y="40"/>
                    </a:lnTo>
                    <a:lnTo>
                      <a:pt x="156" y="0"/>
                    </a:lnTo>
                    <a:lnTo>
                      <a:pt x="0" y="147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4" name="Freeform 18"/>
              <p:cNvSpPr>
                <a:spLocks/>
              </p:cNvSpPr>
              <p:nvPr/>
            </p:nvSpPr>
            <p:spPr bwMode="auto">
              <a:xfrm>
                <a:off x="4633069" y="2910060"/>
                <a:ext cx="293323" cy="274638"/>
              </a:xfrm>
              <a:custGeom>
                <a:avLst/>
                <a:gdLst>
                  <a:gd name="T0" fmla="*/ 0 w 396"/>
                  <a:gd name="T1" fmla="*/ 8987 h 419"/>
                  <a:gd name="T2" fmla="*/ 682 w 396"/>
                  <a:gd name="T3" fmla="*/ 8987 h 419"/>
                  <a:gd name="T4" fmla="*/ 682 w 396"/>
                  <a:gd name="T5" fmla="*/ 8987 h 419"/>
                  <a:gd name="T6" fmla="*/ 682 w 396"/>
                  <a:gd name="T7" fmla="*/ 8987 h 419"/>
                  <a:gd name="T8" fmla="*/ 682 w 396"/>
                  <a:gd name="T9" fmla="*/ 8987 h 419"/>
                  <a:gd name="T10" fmla="*/ 682 w 396"/>
                  <a:gd name="T11" fmla="*/ 8987 h 419"/>
                  <a:gd name="T12" fmla="*/ 682 w 396"/>
                  <a:gd name="T13" fmla="*/ 8987 h 419"/>
                  <a:gd name="T14" fmla="*/ 682 w 396"/>
                  <a:gd name="T15" fmla="*/ 8987 h 419"/>
                  <a:gd name="T16" fmla="*/ 682 w 396"/>
                  <a:gd name="T17" fmla="*/ 8987 h 419"/>
                  <a:gd name="T18" fmla="*/ 682 w 396"/>
                  <a:gd name="T19" fmla="*/ 8987 h 419"/>
                  <a:gd name="T20" fmla="*/ 682 w 396"/>
                  <a:gd name="T21" fmla="*/ 8987 h 419"/>
                  <a:gd name="T22" fmla="*/ 682 w 396"/>
                  <a:gd name="T23" fmla="*/ 8987 h 419"/>
                  <a:gd name="T24" fmla="*/ 682 w 396"/>
                  <a:gd name="T25" fmla="*/ 8987 h 419"/>
                  <a:gd name="T26" fmla="*/ 682 w 396"/>
                  <a:gd name="T27" fmla="*/ 8987 h 419"/>
                  <a:gd name="T28" fmla="*/ 682 w 396"/>
                  <a:gd name="T29" fmla="*/ 8987 h 419"/>
                  <a:gd name="T30" fmla="*/ 682 w 396"/>
                  <a:gd name="T31" fmla="*/ 8987 h 419"/>
                  <a:gd name="T32" fmla="*/ 682 w 396"/>
                  <a:gd name="T33" fmla="*/ 8987 h 419"/>
                  <a:gd name="T34" fmla="*/ 682 w 396"/>
                  <a:gd name="T35" fmla="*/ 8987 h 419"/>
                  <a:gd name="T36" fmla="*/ 682 w 396"/>
                  <a:gd name="T37" fmla="*/ 8987 h 419"/>
                  <a:gd name="T38" fmla="*/ 682 w 396"/>
                  <a:gd name="T39" fmla="*/ 8987 h 419"/>
                  <a:gd name="T40" fmla="*/ 682 w 396"/>
                  <a:gd name="T41" fmla="*/ 8987 h 419"/>
                  <a:gd name="T42" fmla="*/ 682 w 396"/>
                  <a:gd name="T43" fmla="*/ 8987 h 419"/>
                  <a:gd name="T44" fmla="*/ 682 w 396"/>
                  <a:gd name="T45" fmla="*/ 8987 h 419"/>
                  <a:gd name="T46" fmla="*/ 682 w 396"/>
                  <a:gd name="T47" fmla="*/ 8987 h 419"/>
                  <a:gd name="T48" fmla="*/ 682 w 396"/>
                  <a:gd name="T49" fmla="*/ 8987 h 419"/>
                  <a:gd name="T50" fmla="*/ 682 w 396"/>
                  <a:gd name="T51" fmla="*/ 8987 h 419"/>
                  <a:gd name="T52" fmla="*/ 682 w 396"/>
                  <a:gd name="T53" fmla="*/ 8987 h 419"/>
                  <a:gd name="T54" fmla="*/ 682 w 396"/>
                  <a:gd name="T55" fmla="*/ 8987 h 419"/>
                  <a:gd name="T56" fmla="*/ 682 w 396"/>
                  <a:gd name="T57" fmla="*/ 8987 h 419"/>
                  <a:gd name="T58" fmla="*/ 682 w 396"/>
                  <a:gd name="T59" fmla="*/ 8987 h 419"/>
                  <a:gd name="T60" fmla="*/ 682 w 396"/>
                  <a:gd name="T61" fmla="*/ 8987 h 419"/>
                  <a:gd name="T62" fmla="*/ 682 w 396"/>
                  <a:gd name="T63" fmla="*/ 8987 h 419"/>
                  <a:gd name="T64" fmla="*/ 682 w 396"/>
                  <a:gd name="T65" fmla="*/ 8987 h 419"/>
                  <a:gd name="T66" fmla="*/ 682 w 396"/>
                  <a:gd name="T67" fmla="*/ 8987 h 419"/>
                  <a:gd name="T68" fmla="*/ 682 w 396"/>
                  <a:gd name="T69" fmla="*/ 8987 h 419"/>
                  <a:gd name="T70" fmla="*/ 682 w 396"/>
                  <a:gd name="T71" fmla="*/ 8987 h 419"/>
                  <a:gd name="T72" fmla="*/ 682 w 396"/>
                  <a:gd name="T73" fmla="*/ 8987 h 419"/>
                  <a:gd name="T74" fmla="*/ 682 w 396"/>
                  <a:gd name="T75" fmla="*/ 8987 h 419"/>
                  <a:gd name="T76" fmla="*/ 682 w 396"/>
                  <a:gd name="T77" fmla="*/ 8987 h 419"/>
                  <a:gd name="T78" fmla="*/ 682 w 396"/>
                  <a:gd name="T79" fmla="*/ 8987 h 419"/>
                  <a:gd name="T80" fmla="*/ 682 w 396"/>
                  <a:gd name="T81" fmla="*/ 8987 h 419"/>
                  <a:gd name="T82" fmla="*/ 682 w 396"/>
                  <a:gd name="T83" fmla="*/ 0 h 419"/>
                  <a:gd name="T84" fmla="*/ 682 w 396"/>
                  <a:gd name="T85" fmla="*/ 8987 h 419"/>
                  <a:gd name="T86" fmla="*/ 682 w 396"/>
                  <a:gd name="T87" fmla="*/ 8987 h 419"/>
                  <a:gd name="T88" fmla="*/ 0 w 396"/>
                  <a:gd name="T89" fmla="*/ 8987 h 41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396" h="419">
                    <a:moveTo>
                      <a:pt x="0" y="35"/>
                    </a:moveTo>
                    <a:lnTo>
                      <a:pt x="23" y="35"/>
                    </a:lnTo>
                    <a:lnTo>
                      <a:pt x="54" y="57"/>
                    </a:lnTo>
                    <a:lnTo>
                      <a:pt x="89" y="109"/>
                    </a:lnTo>
                    <a:lnTo>
                      <a:pt x="173" y="204"/>
                    </a:lnTo>
                    <a:lnTo>
                      <a:pt x="196" y="258"/>
                    </a:lnTo>
                    <a:lnTo>
                      <a:pt x="196" y="335"/>
                    </a:lnTo>
                    <a:lnTo>
                      <a:pt x="215" y="377"/>
                    </a:lnTo>
                    <a:lnTo>
                      <a:pt x="246" y="419"/>
                    </a:lnTo>
                    <a:lnTo>
                      <a:pt x="258" y="419"/>
                    </a:lnTo>
                    <a:lnTo>
                      <a:pt x="270" y="419"/>
                    </a:lnTo>
                    <a:lnTo>
                      <a:pt x="270" y="388"/>
                    </a:lnTo>
                    <a:lnTo>
                      <a:pt x="280" y="377"/>
                    </a:lnTo>
                    <a:lnTo>
                      <a:pt x="280" y="355"/>
                    </a:lnTo>
                    <a:lnTo>
                      <a:pt x="292" y="345"/>
                    </a:lnTo>
                    <a:lnTo>
                      <a:pt x="300" y="335"/>
                    </a:lnTo>
                    <a:lnTo>
                      <a:pt x="292" y="293"/>
                    </a:lnTo>
                    <a:lnTo>
                      <a:pt x="300" y="270"/>
                    </a:lnTo>
                    <a:lnTo>
                      <a:pt x="312" y="258"/>
                    </a:lnTo>
                    <a:lnTo>
                      <a:pt x="322" y="270"/>
                    </a:lnTo>
                    <a:lnTo>
                      <a:pt x="334" y="258"/>
                    </a:lnTo>
                    <a:lnTo>
                      <a:pt x="377" y="270"/>
                    </a:lnTo>
                    <a:lnTo>
                      <a:pt x="387" y="258"/>
                    </a:lnTo>
                    <a:lnTo>
                      <a:pt x="396" y="238"/>
                    </a:lnTo>
                    <a:lnTo>
                      <a:pt x="387" y="228"/>
                    </a:lnTo>
                    <a:lnTo>
                      <a:pt x="377" y="196"/>
                    </a:lnTo>
                    <a:lnTo>
                      <a:pt x="365" y="184"/>
                    </a:lnTo>
                    <a:lnTo>
                      <a:pt x="345" y="174"/>
                    </a:lnTo>
                    <a:lnTo>
                      <a:pt x="322" y="154"/>
                    </a:lnTo>
                    <a:lnTo>
                      <a:pt x="322" y="142"/>
                    </a:lnTo>
                    <a:lnTo>
                      <a:pt x="312" y="119"/>
                    </a:lnTo>
                    <a:lnTo>
                      <a:pt x="300" y="119"/>
                    </a:lnTo>
                    <a:lnTo>
                      <a:pt x="270" y="109"/>
                    </a:lnTo>
                    <a:lnTo>
                      <a:pt x="270" y="57"/>
                    </a:lnTo>
                    <a:lnTo>
                      <a:pt x="258" y="35"/>
                    </a:lnTo>
                    <a:lnTo>
                      <a:pt x="246" y="47"/>
                    </a:lnTo>
                    <a:lnTo>
                      <a:pt x="215" y="24"/>
                    </a:lnTo>
                    <a:lnTo>
                      <a:pt x="204" y="24"/>
                    </a:lnTo>
                    <a:lnTo>
                      <a:pt x="173" y="35"/>
                    </a:lnTo>
                    <a:lnTo>
                      <a:pt x="161" y="35"/>
                    </a:lnTo>
                    <a:lnTo>
                      <a:pt x="119" y="12"/>
                    </a:lnTo>
                    <a:lnTo>
                      <a:pt x="77" y="0"/>
                    </a:lnTo>
                    <a:lnTo>
                      <a:pt x="46" y="12"/>
                    </a:lnTo>
                    <a:lnTo>
                      <a:pt x="23" y="24"/>
                    </a:lnTo>
                    <a:lnTo>
                      <a:pt x="0" y="35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5" name="Freeform 19"/>
              <p:cNvSpPr>
                <a:spLocks/>
              </p:cNvSpPr>
              <p:nvPr/>
            </p:nvSpPr>
            <p:spPr bwMode="auto">
              <a:xfrm>
                <a:off x="4285826" y="2451273"/>
                <a:ext cx="1313485" cy="747713"/>
              </a:xfrm>
              <a:custGeom>
                <a:avLst/>
                <a:gdLst>
                  <a:gd name="T0" fmla="*/ 667 w 1776"/>
                  <a:gd name="T1" fmla="*/ 8530 h 1145"/>
                  <a:gd name="T2" fmla="*/ 667 w 1776"/>
                  <a:gd name="T3" fmla="*/ 8530 h 1145"/>
                  <a:gd name="T4" fmla="*/ 667 w 1776"/>
                  <a:gd name="T5" fmla="*/ 8530 h 1145"/>
                  <a:gd name="T6" fmla="*/ 667 w 1776"/>
                  <a:gd name="T7" fmla="*/ 8530 h 1145"/>
                  <a:gd name="T8" fmla="*/ 667 w 1776"/>
                  <a:gd name="T9" fmla="*/ 8530 h 1145"/>
                  <a:gd name="T10" fmla="*/ 667 w 1776"/>
                  <a:gd name="T11" fmla="*/ 8530 h 1145"/>
                  <a:gd name="T12" fmla="*/ 667 w 1776"/>
                  <a:gd name="T13" fmla="*/ 8530 h 1145"/>
                  <a:gd name="T14" fmla="*/ 667 w 1776"/>
                  <a:gd name="T15" fmla="*/ 8530 h 1145"/>
                  <a:gd name="T16" fmla="*/ 667 w 1776"/>
                  <a:gd name="T17" fmla="*/ 8530 h 1145"/>
                  <a:gd name="T18" fmla="*/ 667 w 1776"/>
                  <a:gd name="T19" fmla="*/ 8530 h 1145"/>
                  <a:gd name="T20" fmla="*/ 667 w 1776"/>
                  <a:gd name="T21" fmla="*/ 8530 h 1145"/>
                  <a:gd name="T22" fmla="*/ 667 w 1776"/>
                  <a:gd name="T23" fmla="*/ 8530 h 1145"/>
                  <a:gd name="T24" fmla="*/ 667 w 1776"/>
                  <a:gd name="T25" fmla="*/ 8530 h 1145"/>
                  <a:gd name="T26" fmla="*/ 667 w 1776"/>
                  <a:gd name="T27" fmla="*/ 8530 h 1145"/>
                  <a:gd name="T28" fmla="*/ 667 w 1776"/>
                  <a:gd name="T29" fmla="*/ 8530 h 1145"/>
                  <a:gd name="T30" fmla="*/ 667 w 1776"/>
                  <a:gd name="T31" fmla="*/ 8530 h 1145"/>
                  <a:gd name="T32" fmla="*/ 667 w 1776"/>
                  <a:gd name="T33" fmla="*/ 0 h 1145"/>
                  <a:gd name="T34" fmla="*/ 667 w 1776"/>
                  <a:gd name="T35" fmla="*/ 8530 h 1145"/>
                  <a:gd name="T36" fmla="*/ 667 w 1776"/>
                  <a:gd name="T37" fmla="*/ 8530 h 1145"/>
                  <a:gd name="T38" fmla="*/ 667 w 1776"/>
                  <a:gd name="T39" fmla="*/ 8530 h 1145"/>
                  <a:gd name="T40" fmla="*/ 667 w 1776"/>
                  <a:gd name="T41" fmla="*/ 8530 h 1145"/>
                  <a:gd name="T42" fmla="*/ 667 w 1776"/>
                  <a:gd name="T43" fmla="*/ 8530 h 1145"/>
                  <a:gd name="T44" fmla="*/ 667 w 1776"/>
                  <a:gd name="T45" fmla="*/ 8530 h 1145"/>
                  <a:gd name="T46" fmla="*/ 667 w 1776"/>
                  <a:gd name="T47" fmla="*/ 8530 h 1145"/>
                  <a:gd name="T48" fmla="*/ 667 w 1776"/>
                  <a:gd name="T49" fmla="*/ 8530 h 1145"/>
                  <a:gd name="T50" fmla="*/ 667 w 1776"/>
                  <a:gd name="T51" fmla="*/ 8530 h 1145"/>
                  <a:gd name="T52" fmla="*/ 667 w 1776"/>
                  <a:gd name="T53" fmla="*/ 8530 h 1145"/>
                  <a:gd name="T54" fmla="*/ 667 w 1776"/>
                  <a:gd name="T55" fmla="*/ 8530 h 1145"/>
                  <a:gd name="T56" fmla="*/ 667 w 1776"/>
                  <a:gd name="T57" fmla="*/ 8530 h 1145"/>
                  <a:gd name="T58" fmla="*/ 667 w 1776"/>
                  <a:gd name="T59" fmla="*/ 8530 h 1145"/>
                  <a:gd name="T60" fmla="*/ 667 w 1776"/>
                  <a:gd name="T61" fmla="*/ 8530 h 1145"/>
                  <a:gd name="T62" fmla="*/ 667 w 1776"/>
                  <a:gd name="T63" fmla="*/ 8530 h 1145"/>
                  <a:gd name="T64" fmla="*/ 667 w 1776"/>
                  <a:gd name="T65" fmla="*/ 8530 h 1145"/>
                  <a:gd name="T66" fmla="*/ 667 w 1776"/>
                  <a:gd name="T67" fmla="*/ 8530 h 1145"/>
                  <a:gd name="T68" fmla="*/ 667 w 1776"/>
                  <a:gd name="T69" fmla="*/ 8530 h 1145"/>
                  <a:gd name="T70" fmla="*/ 667 w 1776"/>
                  <a:gd name="T71" fmla="*/ 8530 h 1145"/>
                  <a:gd name="T72" fmla="*/ 667 w 1776"/>
                  <a:gd name="T73" fmla="*/ 8530 h 1145"/>
                  <a:gd name="T74" fmla="*/ 667 w 1776"/>
                  <a:gd name="T75" fmla="*/ 8530 h 1145"/>
                  <a:gd name="T76" fmla="*/ 667 w 1776"/>
                  <a:gd name="T77" fmla="*/ 8530 h 1145"/>
                  <a:gd name="T78" fmla="*/ 667 w 1776"/>
                  <a:gd name="T79" fmla="*/ 8530 h 1145"/>
                  <a:gd name="T80" fmla="*/ 667 w 1776"/>
                  <a:gd name="T81" fmla="*/ 8530 h 1145"/>
                  <a:gd name="T82" fmla="*/ 667 w 1776"/>
                  <a:gd name="T83" fmla="*/ 8530 h 1145"/>
                  <a:gd name="T84" fmla="*/ 667 w 1776"/>
                  <a:gd name="T85" fmla="*/ 8530 h 1145"/>
                  <a:gd name="T86" fmla="*/ 667 w 1776"/>
                  <a:gd name="T87" fmla="*/ 8530 h 1145"/>
                  <a:gd name="T88" fmla="*/ 667 w 1776"/>
                  <a:gd name="T89" fmla="*/ 8530 h 1145"/>
                  <a:gd name="T90" fmla="*/ 667 w 1776"/>
                  <a:gd name="T91" fmla="*/ 8530 h 1145"/>
                  <a:gd name="T92" fmla="*/ 667 w 1776"/>
                  <a:gd name="T93" fmla="*/ 8530 h 1145"/>
                  <a:gd name="T94" fmla="*/ 667 w 1776"/>
                  <a:gd name="T95" fmla="*/ 8530 h 1145"/>
                  <a:gd name="T96" fmla="*/ 667 w 1776"/>
                  <a:gd name="T97" fmla="*/ 8530 h 1145"/>
                  <a:gd name="T98" fmla="*/ 667 w 1776"/>
                  <a:gd name="T99" fmla="*/ 8530 h 1145"/>
                  <a:gd name="T100" fmla="*/ 667 w 1776"/>
                  <a:gd name="T101" fmla="*/ 8530 h 1145"/>
                  <a:gd name="T102" fmla="*/ 667 w 1776"/>
                  <a:gd name="T103" fmla="*/ 8530 h 1145"/>
                  <a:gd name="T104" fmla="*/ 667 w 1776"/>
                  <a:gd name="T105" fmla="*/ 8530 h 1145"/>
                  <a:gd name="T106" fmla="*/ 667 w 1776"/>
                  <a:gd name="T107" fmla="*/ 8530 h 1145"/>
                  <a:gd name="T108" fmla="*/ 667 w 1776"/>
                  <a:gd name="T109" fmla="*/ 8530 h 1145"/>
                  <a:gd name="T110" fmla="*/ 667 w 1776"/>
                  <a:gd name="T111" fmla="*/ 8530 h 1145"/>
                  <a:gd name="T112" fmla="*/ 667 w 1776"/>
                  <a:gd name="T113" fmla="*/ 8530 h 1145"/>
                  <a:gd name="T114" fmla="*/ 667 w 1776"/>
                  <a:gd name="T115" fmla="*/ 8530 h 1145"/>
                  <a:gd name="T116" fmla="*/ 667 w 1776"/>
                  <a:gd name="T117" fmla="*/ 8530 h 1145"/>
                  <a:gd name="T118" fmla="*/ 667 w 1776"/>
                  <a:gd name="T119" fmla="*/ 8530 h 1145"/>
                  <a:gd name="T120" fmla="*/ 667 w 1776"/>
                  <a:gd name="T121" fmla="*/ 8530 h 1145"/>
                  <a:gd name="T122" fmla="*/ 667 w 1776"/>
                  <a:gd name="T123" fmla="*/ 8530 h 114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1776" h="1145">
                    <a:moveTo>
                      <a:pt x="1615" y="619"/>
                    </a:moveTo>
                    <a:lnTo>
                      <a:pt x="1659" y="588"/>
                    </a:lnTo>
                    <a:lnTo>
                      <a:pt x="1648" y="566"/>
                    </a:lnTo>
                    <a:lnTo>
                      <a:pt x="1648" y="546"/>
                    </a:lnTo>
                    <a:lnTo>
                      <a:pt x="1679" y="524"/>
                    </a:lnTo>
                    <a:lnTo>
                      <a:pt x="1691" y="481"/>
                    </a:lnTo>
                    <a:lnTo>
                      <a:pt x="1722" y="481"/>
                    </a:lnTo>
                    <a:lnTo>
                      <a:pt x="1776" y="462"/>
                    </a:lnTo>
                    <a:lnTo>
                      <a:pt x="1764" y="385"/>
                    </a:lnTo>
                    <a:lnTo>
                      <a:pt x="1722" y="353"/>
                    </a:lnTo>
                    <a:lnTo>
                      <a:pt x="1722" y="320"/>
                    </a:lnTo>
                    <a:lnTo>
                      <a:pt x="1756" y="300"/>
                    </a:lnTo>
                    <a:lnTo>
                      <a:pt x="1714" y="288"/>
                    </a:lnTo>
                    <a:lnTo>
                      <a:pt x="1733" y="266"/>
                    </a:lnTo>
                    <a:lnTo>
                      <a:pt x="1744" y="246"/>
                    </a:lnTo>
                    <a:lnTo>
                      <a:pt x="1714" y="204"/>
                    </a:lnTo>
                    <a:lnTo>
                      <a:pt x="1722" y="192"/>
                    </a:lnTo>
                    <a:lnTo>
                      <a:pt x="1714" y="192"/>
                    </a:lnTo>
                    <a:lnTo>
                      <a:pt x="1648" y="192"/>
                    </a:lnTo>
                    <a:lnTo>
                      <a:pt x="1605" y="204"/>
                    </a:lnTo>
                    <a:lnTo>
                      <a:pt x="1583" y="212"/>
                    </a:lnTo>
                    <a:lnTo>
                      <a:pt x="1572" y="204"/>
                    </a:lnTo>
                    <a:lnTo>
                      <a:pt x="1541" y="204"/>
                    </a:lnTo>
                    <a:lnTo>
                      <a:pt x="1530" y="192"/>
                    </a:lnTo>
                    <a:lnTo>
                      <a:pt x="1508" y="204"/>
                    </a:lnTo>
                    <a:lnTo>
                      <a:pt x="1508" y="212"/>
                    </a:lnTo>
                    <a:lnTo>
                      <a:pt x="1498" y="224"/>
                    </a:lnTo>
                    <a:lnTo>
                      <a:pt x="1476" y="204"/>
                    </a:lnTo>
                    <a:lnTo>
                      <a:pt x="1434" y="170"/>
                    </a:lnTo>
                    <a:lnTo>
                      <a:pt x="1414" y="170"/>
                    </a:lnTo>
                    <a:lnTo>
                      <a:pt x="1391" y="192"/>
                    </a:lnTo>
                    <a:lnTo>
                      <a:pt x="1357" y="212"/>
                    </a:lnTo>
                    <a:lnTo>
                      <a:pt x="1349" y="212"/>
                    </a:lnTo>
                    <a:lnTo>
                      <a:pt x="1327" y="224"/>
                    </a:lnTo>
                    <a:lnTo>
                      <a:pt x="1307" y="204"/>
                    </a:lnTo>
                    <a:lnTo>
                      <a:pt x="1295" y="212"/>
                    </a:lnTo>
                    <a:lnTo>
                      <a:pt x="1272" y="224"/>
                    </a:lnTo>
                    <a:lnTo>
                      <a:pt x="1241" y="212"/>
                    </a:lnTo>
                    <a:lnTo>
                      <a:pt x="1230" y="204"/>
                    </a:lnTo>
                    <a:lnTo>
                      <a:pt x="1230" y="192"/>
                    </a:lnTo>
                    <a:lnTo>
                      <a:pt x="1210" y="150"/>
                    </a:lnTo>
                    <a:lnTo>
                      <a:pt x="1176" y="117"/>
                    </a:lnTo>
                    <a:lnTo>
                      <a:pt x="1146" y="139"/>
                    </a:lnTo>
                    <a:lnTo>
                      <a:pt x="1123" y="139"/>
                    </a:lnTo>
                    <a:lnTo>
                      <a:pt x="1091" y="127"/>
                    </a:lnTo>
                    <a:lnTo>
                      <a:pt x="1069" y="85"/>
                    </a:lnTo>
                    <a:lnTo>
                      <a:pt x="1091" y="62"/>
                    </a:lnTo>
                    <a:lnTo>
                      <a:pt x="1079" y="55"/>
                    </a:lnTo>
                    <a:lnTo>
                      <a:pt x="1049" y="32"/>
                    </a:lnTo>
                    <a:lnTo>
                      <a:pt x="1037" y="12"/>
                    </a:lnTo>
                    <a:lnTo>
                      <a:pt x="1007" y="0"/>
                    </a:lnTo>
                    <a:lnTo>
                      <a:pt x="984" y="12"/>
                    </a:lnTo>
                    <a:lnTo>
                      <a:pt x="965" y="12"/>
                    </a:lnTo>
                    <a:lnTo>
                      <a:pt x="930" y="20"/>
                    </a:lnTo>
                    <a:lnTo>
                      <a:pt x="888" y="32"/>
                    </a:lnTo>
                    <a:lnTo>
                      <a:pt x="876" y="43"/>
                    </a:lnTo>
                    <a:lnTo>
                      <a:pt x="876" y="62"/>
                    </a:lnTo>
                    <a:lnTo>
                      <a:pt x="865" y="74"/>
                    </a:lnTo>
                    <a:lnTo>
                      <a:pt x="846" y="74"/>
                    </a:lnTo>
                    <a:lnTo>
                      <a:pt x="814" y="74"/>
                    </a:lnTo>
                    <a:lnTo>
                      <a:pt x="769" y="97"/>
                    </a:lnTo>
                    <a:lnTo>
                      <a:pt x="749" y="139"/>
                    </a:lnTo>
                    <a:lnTo>
                      <a:pt x="749" y="181"/>
                    </a:lnTo>
                    <a:lnTo>
                      <a:pt x="761" y="204"/>
                    </a:lnTo>
                    <a:lnTo>
                      <a:pt x="761" y="212"/>
                    </a:lnTo>
                    <a:lnTo>
                      <a:pt x="749" y="224"/>
                    </a:lnTo>
                    <a:lnTo>
                      <a:pt x="715" y="212"/>
                    </a:lnTo>
                    <a:lnTo>
                      <a:pt x="665" y="224"/>
                    </a:lnTo>
                    <a:lnTo>
                      <a:pt x="653" y="234"/>
                    </a:lnTo>
                    <a:lnTo>
                      <a:pt x="642" y="234"/>
                    </a:lnTo>
                    <a:lnTo>
                      <a:pt x="630" y="224"/>
                    </a:lnTo>
                    <a:lnTo>
                      <a:pt x="610" y="204"/>
                    </a:lnTo>
                    <a:lnTo>
                      <a:pt x="588" y="246"/>
                    </a:lnTo>
                    <a:lnTo>
                      <a:pt x="566" y="224"/>
                    </a:lnTo>
                    <a:lnTo>
                      <a:pt x="558" y="234"/>
                    </a:lnTo>
                    <a:lnTo>
                      <a:pt x="523" y="224"/>
                    </a:lnTo>
                    <a:lnTo>
                      <a:pt x="523" y="234"/>
                    </a:lnTo>
                    <a:lnTo>
                      <a:pt x="492" y="246"/>
                    </a:lnTo>
                    <a:lnTo>
                      <a:pt x="481" y="258"/>
                    </a:lnTo>
                    <a:lnTo>
                      <a:pt x="469" y="258"/>
                    </a:lnTo>
                    <a:lnTo>
                      <a:pt x="469" y="234"/>
                    </a:lnTo>
                    <a:lnTo>
                      <a:pt x="439" y="246"/>
                    </a:lnTo>
                    <a:lnTo>
                      <a:pt x="427" y="234"/>
                    </a:lnTo>
                    <a:lnTo>
                      <a:pt x="427" y="224"/>
                    </a:lnTo>
                    <a:lnTo>
                      <a:pt x="385" y="212"/>
                    </a:lnTo>
                    <a:lnTo>
                      <a:pt x="354" y="224"/>
                    </a:lnTo>
                    <a:lnTo>
                      <a:pt x="332" y="212"/>
                    </a:lnTo>
                    <a:lnTo>
                      <a:pt x="300" y="204"/>
                    </a:lnTo>
                    <a:lnTo>
                      <a:pt x="266" y="212"/>
                    </a:lnTo>
                    <a:lnTo>
                      <a:pt x="246" y="212"/>
                    </a:lnTo>
                    <a:lnTo>
                      <a:pt x="181" y="234"/>
                    </a:lnTo>
                    <a:lnTo>
                      <a:pt x="170" y="246"/>
                    </a:lnTo>
                    <a:lnTo>
                      <a:pt x="170" y="258"/>
                    </a:lnTo>
                    <a:lnTo>
                      <a:pt x="161" y="266"/>
                    </a:lnTo>
                    <a:lnTo>
                      <a:pt x="139" y="278"/>
                    </a:lnTo>
                    <a:lnTo>
                      <a:pt x="108" y="288"/>
                    </a:lnTo>
                    <a:lnTo>
                      <a:pt x="97" y="300"/>
                    </a:lnTo>
                    <a:lnTo>
                      <a:pt x="139" y="385"/>
                    </a:lnTo>
                    <a:lnTo>
                      <a:pt x="151" y="438"/>
                    </a:lnTo>
                    <a:lnTo>
                      <a:pt x="85" y="492"/>
                    </a:lnTo>
                    <a:lnTo>
                      <a:pt x="54" y="566"/>
                    </a:lnTo>
                    <a:lnTo>
                      <a:pt x="20" y="653"/>
                    </a:lnTo>
                    <a:lnTo>
                      <a:pt x="0" y="770"/>
                    </a:lnTo>
                    <a:lnTo>
                      <a:pt x="54" y="792"/>
                    </a:lnTo>
                    <a:lnTo>
                      <a:pt x="74" y="822"/>
                    </a:lnTo>
                    <a:lnTo>
                      <a:pt x="116" y="812"/>
                    </a:lnTo>
                    <a:lnTo>
                      <a:pt x="204" y="812"/>
                    </a:lnTo>
                    <a:lnTo>
                      <a:pt x="258" y="792"/>
                    </a:lnTo>
                    <a:lnTo>
                      <a:pt x="300" y="822"/>
                    </a:lnTo>
                    <a:lnTo>
                      <a:pt x="320" y="792"/>
                    </a:lnTo>
                    <a:lnTo>
                      <a:pt x="385" y="770"/>
                    </a:lnTo>
                    <a:lnTo>
                      <a:pt x="439" y="727"/>
                    </a:lnTo>
                    <a:lnTo>
                      <a:pt x="469" y="738"/>
                    </a:lnTo>
                    <a:lnTo>
                      <a:pt x="492" y="727"/>
                    </a:lnTo>
                    <a:lnTo>
                      <a:pt x="515" y="715"/>
                    </a:lnTo>
                    <a:lnTo>
                      <a:pt x="546" y="703"/>
                    </a:lnTo>
                    <a:lnTo>
                      <a:pt x="588" y="715"/>
                    </a:lnTo>
                    <a:lnTo>
                      <a:pt x="630" y="738"/>
                    </a:lnTo>
                    <a:lnTo>
                      <a:pt x="642" y="738"/>
                    </a:lnTo>
                    <a:lnTo>
                      <a:pt x="673" y="727"/>
                    </a:lnTo>
                    <a:lnTo>
                      <a:pt x="684" y="727"/>
                    </a:lnTo>
                    <a:lnTo>
                      <a:pt x="715" y="750"/>
                    </a:lnTo>
                    <a:lnTo>
                      <a:pt x="727" y="738"/>
                    </a:lnTo>
                    <a:lnTo>
                      <a:pt x="739" y="760"/>
                    </a:lnTo>
                    <a:lnTo>
                      <a:pt x="739" y="812"/>
                    </a:lnTo>
                    <a:lnTo>
                      <a:pt x="769" y="822"/>
                    </a:lnTo>
                    <a:lnTo>
                      <a:pt x="781" y="822"/>
                    </a:lnTo>
                    <a:lnTo>
                      <a:pt x="791" y="845"/>
                    </a:lnTo>
                    <a:lnTo>
                      <a:pt x="791" y="857"/>
                    </a:lnTo>
                    <a:lnTo>
                      <a:pt x="814" y="877"/>
                    </a:lnTo>
                    <a:lnTo>
                      <a:pt x="834" y="887"/>
                    </a:lnTo>
                    <a:lnTo>
                      <a:pt x="846" y="899"/>
                    </a:lnTo>
                    <a:lnTo>
                      <a:pt x="856" y="931"/>
                    </a:lnTo>
                    <a:lnTo>
                      <a:pt x="865" y="941"/>
                    </a:lnTo>
                    <a:lnTo>
                      <a:pt x="856" y="961"/>
                    </a:lnTo>
                    <a:lnTo>
                      <a:pt x="846" y="973"/>
                    </a:lnTo>
                    <a:lnTo>
                      <a:pt x="803" y="961"/>
                    </a:lnTo>
                    <a:lnTo>
                      <a:pt x="791" y="973"/>
                    </a:lnTo>
                    <a:lnTo>
                      <a:pt x="781" y="961"/>
                    </a:lnTo>
                    <a:lnTo>
                      <a:pt x="769" y="973"/>
                    </a:lnTo>
                    <a:lnTo>
                      <a:pt x="761" y="996"/>
                    </a:lnTo>
                    <a:lnTo>
                      <a:pt x="769" y="1038"/>
                    </a:lnTo>
                    <a:lnTo>
                      <a:pt x="761" y="1048"/>
                    </a:lnTo>
                    <a:lnTo>
                      <a:pt x="749" y="1058"/>
                    </a:lnTo>
                    <a:lnTo>
                      <a:pt x="749" y="1080"/>
                    </a:lnTo>
                    <a:lnTo>
                      <a:pt x="739" y="1091"/>
                    </a:lnTo>
                    <a:lnTo>
                      <a:pt x="739" y="1122"/>
                    </a:lnTo>
                    <a:lnTo>
                      <a:pt x="727" y="1122"/>
                    </a:lnTo>
                    <a:lnTo>
                      <a:pt x="761" y="1134"/>
                    </a:lnTo>
                    <a:lnTo>
                      <a:pt x="803" y="1103"/>
                    </a:lnTo>
                    <a:lnTo>
                      <a:pt x="834" y="1091"/>
                    </a:lnTo>
                    <a:lnTo>
                      <a:pt x="846" y="1091"/>
                    </a:lnTo>
                    <a:lnTo>
                      <a:pt x="834" y="1058"/>
                    </a:lnTo>
                    <a:lnTo>
                      <a:pt x="888" y="1015"/>
                    </a:lnTo>
                    <a:lnTo>
                      <a:pt x="920" y="961"/>
                    </a:lnTo>
                    <a:lnTo>
                      <a:pt x="930" y="899"/>
                    </a:lnTo>
                    <a:lnTo>
                      <a:pt x="1060" y="865"/>
                    </a:lnTo>
                    <a:lnTo>
                      <a:pt x="1049" y="919"/>
                    </a:lnTo>
                    <a:lnTo>
                      <a:pt x="1134" y="941"/>
                    </a:lnTo>
                    <a:lnTo>
                      <a:pt x="1188" y="899"/>
                    </a:lnTo>
                    <a:lnTo>
                      <a:pt x="1253" y="919"/>
                    </a:lnTo>
                    <a:lnTo>
                      <a:pt x="1198" y="961"/>
                    </a:lnTo>
                    <a:lnTo>
                      <a:pt x="1165" y="1026"/>
                    </a:lnTo>
                    <a:lnTo>
                      <a:pt x="1230" y="1038"/>
                    </a:lnTo>
                    <a:lnTo>
                      <a:pt x="1272" y="1058"/>
                    </a:lnTo>
                    <a:lnTo>
                      <a:pt x="1272" y="1122"/>
                    </a:lnTo>
                    <a:lnTo>
                      <a:pt x="1315" y="1145"/>
                    </a:lnTo>
                    <a:lnTo>
                      <a:pt x="1369" y="1114"/>
                    </a:lnTo>
                    <a:lnTo>
                      <a:pt x="1391" y="1058"/>
                    </a:lnTo>
                    <a:lnTo>
                      <a:pt x="1444" y="1038"/>
                    </a:lnTo>
                    <a:lnTo>
                      <a:pt x="1476" y="984"/>
                    </a:lnTo>
                    <a:lnTo>
                      <a:pt x="1541" y="984"/>
                    </a:lnTo>
                    <a:lnTo>
                      <a:pt x="1583" y="961"/>
                    </a:lnTo>
                    <a:lnTo>
                      <a:pt x="1595" y="953"/>
                    </a:lnTo>
                    <a:lnTo>
                      <a:pt x="1595" y="907"/>
                    </a:lnTo>
                    <a:lnTo>
                      <a:pt x="1563" y="907"/>
                    </a:lnTo>
                    <a:lnTo>
                      <a:pt x="1518" y="919"/>
                    </a:lnTo>
                    <a:lnTo>
                      <a:pt x="1464" y="961"/>
                    </a:lnTo>
                    <a:lnTo>
                      <a:pt x="1402" y="953"/>
                    </a:lnTo>
                    <a:lnTo>
                      <a:pt x="1369" y="907"/>
                    </a:lnTo>
                    <a:lnTo>
                      <a:pt x="1327" y="899"/>
                    </a:lnTo>
                    <a:lnTo>
                      <a:pt x="1379" y="857"/>
                    </a:lnTo>
                    <a:lnTo>
                      <a:pt x="1402" y="792"/>
                    </a:lnTo>
                    <a:lnTo>
                      <a:pt x="1464" y="738"/>
                    </a:lnTo>
                    <a:lnTo>
                      <a:pt x="1530" y="703"/>
                    </a:lnTo>
                    <a:lnTo>
                      <a:pt x="1595" y="631"/>
                    </a:lnTo>
                    <a:lnTo>
                      <a:pt x="1615" y="619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6" name="Freeform 20"/>
              <p:cNvSpPr>
                <a:spLocks/>
              </p:cNvSpPr>
              <p:nvPr/>
            </p:nvSpPr>
            <p:spPr bwMode="auto">
              <a:xfrm>
                <a:off x="4128381" y="2157585"/>
                <a:ext cx="379595" cy="258763"/>
              </a:xfrm>
              <a:custGeom>
                <a:avLst/>
                <a:gdLst>
                  <a:gd name="T0" fmla="*/ 654 w 514"/>
                  <a:gd name="T1" fmla="*/ 8917 h 395"/>
                  <a:gd name="T2" fmla="*/ 654 w 514"/>
                  <a:gd name="T3" fmla="*/ 8917 h 395"/>
                  <a:gd name="T4" fmla="*/ 0 w 514"/>
                  <a:gd name="T5" fmla="*/ 8917 h 395"/>
                  <a:gd name="T6" fmla="*/ 654 w 514"/>
                  <a:gd name="T7" fmla="*/ 8917 h 395"/>
                  <a:gd name="T8" fmla="*/ 654 w 514"/>
                  <a:gd name="T9" fmla="*/ 8917 h 395"/>
                  <a:gd name="T10" fmla="*/ 654 w 514"/>
                  <a:gd name="T11" fmla="*/ 8917 h 395"/>
                  <a:gd name="T12" fmla="*/ 654 w 514"/>
                  <a:gd name="T13" fmla="*/ 8917 h 395"/>
                  <a:gd name="T14" fmla="*/ 654 w 514"/>
                  <a:gd name="T15" fmla="*/ 8917 h 395"/>
                  <a:gd name="T16" fmla="*/ 654 w 514"/>
                  <a:gd name="T17" fmla="*/ 8917 h 395"/>
                  <a:gd name="T18" fmla="*/ 654 w 514"/>
                  <a:gd name="T19" fmla="*/ 8917 h 395"/>
                  <a:gd name="T20" fmla="*/ 654 w 514"/>
                  <a:gd name="T21" fmla="*/ 8917 h 395"/>
                  <a:gd name="T22" fmla="*/ 654 w 514"/>
                  <a:gd name="T23" fmla="*/ 8917 h 395"/>
                  <a:gd name="T24" fmla="*/ 654 w 514"/>
                  <a:gd name="T25" fmla="*/ 8917 h 395"/>
                  <a:gd name="T26" fmla="*/ 654 w 514"/>
                  <a:gd name="T27" fmla="*/ 8917 h 395"/>
                  <a:gd name="T28" fmla="*/ 654 w 514"/>
                  <a:gd name="T29" fmla="*/ 8917 h 395"/>
                  <a:gd name="T30" fmla="*/ 654 w 514"/>
                  <a:gd name="T31" fmla="*/ 8917 h 395"/>
                  <a:gd name="T32" fmla="*/ 654 w 514"/>
                  <a:gd name="T33" fmla="*/ 8917 h 395"/>
                  <a:gd name="T34" fmla="*/ 654 w 514"/>
                  <a:gd name="T35" fmla="*/ 8917 h 395"/>
                  <a:gd name="T36" fmla="*/ 654 w 514"/>
                  <a:gd name="T37" fmla="*/ 8917 h 395"/>
                  <a:gd name="T38" fmla="*/ 654 w 514"/>
                  <a:gd name="T39" fmla="*/ 8917 h 395"/>
                  <a:gd name="T40" fmla="*/ 654 w 514"/>
                  <a:gd name="T41" fmla="*/ 8917 h 395"/>
                  <a:gd name="T42" fmla="*/ 654 w 514"/>
                  <a:gd name="T43" fmla="*/ 8917 h 395"/>
                  <a:gd name="T44" fmla="*/ 654 w 514"/>
                  <a:gd name="T45" fmla="*/ 8917 h 395"/>
                  <a:gd name="T46" fmla="*/ 654 w 514"/>
                  <a:gd name="T47" fmla="*/ 8917 h 395"/>
                  <a:gd name="T48" fmla="*/ 654 w 514"/>
                  <a:gd name="T49" fmla="*/ 8917 h 395"/>
                  <a:gd name="T50" fmla="*/ 654 w 514"/>
                  <a:gd name="T51" fmla="*/ 8917 h 395"/>
                  <a:gd name="T52" fmla="*/ 654 w 514"/>
                  <a:gd name="T53" fmla="*/ 8917 h 395"/>
                  <a:gd name="T54" fmla="*/ 654 w 514"/>
                  <a:gd name="T55" fmla="*/ 8917 h 395"/>
                  <a:gd name="T56" fmla="*/ 654 w 514"/>
                  <a:gd name="T57" fmla="*/ 8917 h 395"/>
                  <a:gd name="T58" fmla="*/ 654 w 514"/>
                  <a:gd name="T59" fmla="*/ 8917 h 395"/>
                  <a:gd name="T60" fmla="*/ 654 w 514"/>
                  <a:gd name="T61" fmla="*/ 8917 h 395"/>
                  <a:gd name="T62" fmla="*/ 654 w 514"/>
                  <a:gd name="T63" fmla="*/ 8917 h 395"/>
                  <a:gd name="T64" fmla="*/ 654 w 514"/>
                  <a:gd name="T65" fmla="*/ 8917 h 395"/>
                  <a:gd name="T66" fmla="*/ 654 w 514"/>
                  <a:gd name="T67" fmla="*/ 8917 h 395"/>
                  <a:gd name="T68" fmla="*/ 654 w 514"/>
                  <a:gd name="T69" fmla="*/ 8917 h 395"/>
                  <a:gd name="T70" fmla="*/ 654 w 514"/>
                  <a:gd name="T71" fmla="*/ 8917 h 395"/>
                  <a:gd name="T72" fmla="*/ 654 w 514"/>
                  <a:gd name="T73" fmla="*/ 8917 h 395"/>
                  <a:gd name="T74" fmla="*/ 654 w 514"/>
                  <a:gd name="T75" fmla="*/ 8917 h 395"/>
                  <a:gd name="T76" fmla="*/ 654 w 514"/>
                  <a:gd name="T77" fmla="*/ 8917 h 395"/>
                  <a:gd name="T78" fmla="*/ 654 w 514"/>
                  <a:gd name="T79" fmla="*/ 8917 h 395"/>
                  <a:gd name="T80" fmla="*/ 654 w 514"/>
                  <a:gd name="T81" fmla="*/ 8917 h 395"/>
                  <a:gd name="T82" fmla="*/ 654 w 514"/>
                  <a:gd name="T83" fmla="*/ 8917 h 395"/>
                  <a:gd name="T84" fmla="*/ 654 w 514"/>
                  <a:gd name="T85" fmla="*/ 0 h 395"/>
                  <a:gd name="T86" fmla="*/ 654 w 514"/>
                  <a:gd name="T87" fmla="*/ 0 h 395"/>
                  <a:gd name="T88" fmla="*/ 654 w 514"/>
                  <a:gd name="T89" fmla="*/ 8917 h 395"/>
                  <a:gd name="T90" fmla="*/ 654 w 514"/>
                  <a:gd name="T91" fmla="*/ 8917 h 395"/>
                  <a:gd name="T92" fmla="*/ 654 w 514"/>
                  <a:gd name="T93" fmla="*/ 8917 h 395"/>
                  <a:gd name="T94" fmla="*/ 654 w 514"/>
                  <a:gd name="T95" fmla="*/ 8917 h 395"/>
                  <a:gd name="T96" fmla="*/ 654 w 514"/>
                  <a:gd name="T97" fmla="*/ 8917 h 395"/>
                  <a:gd name="T98" fmla="*/ 654 w 514"/>
                  <a:gd name="T99" fmla="*/ 8917 h 395"/>
                  <a:gd name="T100" fmla="*/ 654 w 514"/>
                  <a:gd name="T101" fmla="*/ 8917 h 395"/>
                  <a:gd name="T102" fmla="*/ 654 w 514"/>
                  <a:gd name="T103" fmla="*/ 8917 h 395"/>
                  <a:gd name="T104" fmla="*/ 654 w 514"/>
                  <a:gd name="T105" fmla="*/ 8917 h 395"/>
                  <a:gd name="T106" fmla="*/ 654 w 514"/>
                  <a:gd name="T107" fmla="*/ 8917 h 39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14" h="395">
                    <a:moveTo>
                      <a:pt x="11" y="85"/>
                    </a:moveTo>
                    <a:lnTo>
                      <a:pt x="22" y="127"/>
                    </a:lnTo>
                    <a:lnTo>
                      <a:pt x="0" y="181"/>
                    </a:lnTo>
                    <a:lnTo>
                      <a:pt x="53" y="181"/>
                    </a:lnTo>
                    <a:lnTo>
                      <a:pt x="65" y="192"/>
                    </a:lnTo>
                    <a:lnTo>
                      <a:pt x="95" y="204"/>
                    </a:lnTo>
                    <a:lnTo>
                      <a:pt x="118" y="204"/>
                    </a:lnTo>
                    <a:lnTo>
                      <a:pt x="149" y="204"/>
                    </a:lnTo>
                    <a:lnTo>
                      <a:pt x="161" y="204"/>
                    </a:lnTo>
                    <a:lnTo>
                      <a:pt x="181" y="246"/>
                    </a:lnTo>
                    <a:lnTo>
                      <a:pt x="172" y="266"/>
                    </a:lnTo>
                    <a:lnTo>
                      <a:pt x="172" y="288"/>
                    </a:lnTo>
                    <a:lnTo>
                      <a:pt x="181" y="300"/>
                    </a:lnTo>
                    <a:lnTo>
                      <a:pt x="203" y="311"/>
                    </a:lnTo>
                    <a:lnTo>
                      <a:pt x="246" y="353"/>
                    </a:lnTo>
                    <a:lnTo>
                      <a:pt x="256" y="385"/>
                    </a:lnTo>
                    <a:lnTo>
                      <a:pt x="288" y="395"/>
                    </a:lnTo>
                    <a:lnTo>
                      <a:pt x="311" y="385"/>
                    </a:lnTo>
                    <a:lnTo>
                      <a:pt x="330" y="385"/>
                    </a:lnTo>
                    <a:lnTo>
                      <a:pt x="353" y="362"/>
                    </a:lnTo>
                    <a:lnTo>
                      <a:pt x="365" y="373"/>
                    </a:lnTo>
                    <a:lnTo>
                      <a:pt x="384" y="362"/>
                    </a:lnTo>
                    <a:lnTo>
                      <a:pt x="375" y="342"/>
                    </a:lnTo>
                    <a:lnTo>
                      <a:pt x="395" y="342"/>
                    </a:lnTo>
                    <a:lnTo>
                      <a:pt x="418" y="320"/>
                    </a:lnTo>
                    <a:lnTo>
                      <a:pt x="449" y="330"/>
                    </a:lnTo>
                    <a:lnTo>
                      <a:pt x="460" y="330"/>
                    </a:lnTo>
                    <a:lnTo>
                      <a:pt x="437" y="300"/>
                    </a:lnTo>
                    <a:lnTo>
                      <a:pt x="449" y="258"/>
                    </a:lnTo>
                    <a:lnTo>
                      <a:pt x="449" y="204"/>
                    </a:lnTo>
                    <a:lnTo>
                      <a:pt x="472" y="192"/>
                    </a:lnTo>
                    <a:lnTo>
                      <a:pt x="480" y="169"/>
                    </a:lnTo>
                    <a:lnTo>
                      <a:pt x="502" y="169"/>
                    </a:lnTo>
                    <a:lnTo>
                      <a:pt x="514" y="139"/>
                    </a:lnTo>
                    <a:lnTo>
                      <a:pt x="492" y="139"/>
                    </a:lnTo>
                    <a:lnTo>
                      <a:pt x="480" y="116"/>
                    </a:lnTo>
                    <a:lnTo>
                      <a:pt x="492" y="107"/>
                    </a:lnTo>
                    <a:lnTo>
                      <a:pt x="502" y="96"/>
                    </a:lnTo>
                    <a:lnTo>
                      <a:pt x="472" y="85"/>
                    </a:lnTo>
                    <a:lnTo>
                      <a:pt x="437" y="54"/>
                    </a:lnTo>
                    <a:lnTo>
                      <a:pt x="395" y="32"/>
                    </a:lnTo>
                    <a:lnTo>
                      <a:pt x="353" y="32"/>
                    </a:lnTo>
                    <a:lnTo>
                      <a:pt x="330" y="0"/>
                    </a:lnTo>
                    <a:lnTo>
                      <a:pt x="322" y="0"/>
                    </a:lnTo>
                    <a:lnTo>
                      <a:pt x="299" y="20"/>
                    </a:lnTo>
                    <a:lnTo>
                      <a:pt x="279" y="32"/>
                    </a:lnTo>
                    <a:lnTo>
                      <a:pt x="226" y="20"/>
                    </a:lnTo>
                    <a:lnTo>
                      <a:pt x="172" y="20"/>
                    </a:lnTo>
                    <a:lnTo>
                      <a:pt x="149" y="32"/>
                    </a:lnTo>
                    <a:lnTo>
                      <a:pt x="137" y="20"/>
                    </a:lnTo>
                    <a:lnTo>
                      <a:pt x="95" y="32"/>
                    </a:lnTo>
                    <a:lnTo>
                      <a:pt x="42" y="62"/>
                    </a:lnTo>
                    <a:lnTo>
                      <a:pt x="22" y="85"/>
                    </a:lnTo>
                    <a:lnTo>
                      <a:pt x="11" y="85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7" name="Freeform 21"/>
              <p:cNvSpPr>
                <a:spLocks/>
              </p:cNvSpPr>
              <p:nvPr/>
            </p:nvSpPr>
            <p:spPr bwMode="auto">
              <a:xfrm>
                <a:off x="4320335" y="2149648"/>
                <a:ext cx="614685" cy="496888"/>
              </a:xfrm>
              <a:custGeom>
                <a:avLst/>
                <a:gdLst>
                  <a:gd name="T0" fmla="*/ 636 w 834"/>
                  <a:gd name="T1" fmla="*/ 8515 h 761"/>
                  <a:gd name="T2" fmla="*/ 636 w 834"/>
                  <a:gd name="T3" fmla="*/ 8515 h 761"/>
                  <a:gd name="T4" fmla="*/ 636 w 834"/>
                  <a:gd name="T5" fmla="*/ 8515 h 761"/>
                  <a:gd name="T6" fmla="*/ 636 w 834"/>
                  <a:gd name="T7" fmla="*/ 8515 h 761"/>
                  <a:gd name="T8" fmla="*/ 636 w 834"/>
                  <a:gd name="T9" fmla="*/ 8515 h 761"/>
                  <a:gd name="T10" fmla="*/ 636 w 834"/>
                  <a:gd name="T11" fmla="*/ 8515 h 761"/>
                  <a:gd name="T12" fmla="*/ 636 w 834"/>
                  <a:gd name="T13" fmla="*/ 8515 h 761"/>
                  <a:gd name="T14" fmla="*/ 636 w 834"/>
                  <a:gd name="T15" fmla="*/ 8515 h 761"/>
                  <a:gd name="T16" fmla="*/ 636 w 834"/>
                  <a:gd name="T17" fmla="*/ 8515 h 761"/>
                  <a:gd name="T18" fmla="*/ 636 w 834"/>
                  <a:gd name="T19" fmla="*/ 8515 h 761"/>
                  <a:gd name="T20" fmla="*/ 636 w 834"/>
                  <a:gd name="T21" fmla="*/ 8515 h 761"/>
                  <a:gd name="T22" fmla="*/ 636 w 834"/>
                  <a:gd name="T23" fmla="*/ 8515 h 761"/>
                  <a:gd name="T24" fmla="*/ 636 w 834"/>
                  <a:gd name="T25" fmla="*/ 8515 h 761"/>
                  <a:gd name="T26" fmla="*/ 636 w 834"/>
                  <a:gd name="T27" fmla="*/ 8515 h 761"/>
                  <a:gd name="T28" fmla="*/ 636 w 834"/>
                  <a:gd name="T29" fmla="*/ 8515 h 761"/>
                  <a:gd name="T30" fmla="*/ 636 w 834"/>
                  <a:gd name="T31" fmla="*/ 8515 h 761"/>
                  <a:gd name="T32" fmla="*/ 636 w 834"/>
                  <a:gd name="T33" fmla="*/ 8515 h 761"/>
                  <a:gd name="T34" fmla="*/ 636 w 834"/>
                  <a:gd name="T35" fmla="*/ 8515 h 761"/>
                  <a:gd name="T36" fmla="*/ 636 w 834"/>
                  <a:gd name="T37" fmla="*/ 8515 h 761"/>
                  <a:gd name="T38" fmla="*/ 636 w 834"/>
                  <a:gd name="T39" fmla="*/ 8515 h 761"/>
                  <a:gd name="T40" fmla="*/ 636 w 834"/>
                  <a:gd name="T41" fmla="*/ 8515 h 761"/>
                  <a:gd name="T42" fmla="*/ 636 w 834"/>
                  <a:gd name="T43" fmla="*/ 8515 h 761"/>
                  <a:gd name="T44" fmla="*/ 636 w 834"/>
                  <a:gd name="T45" fmla="*/ 8515 h 761"/>
                  <a:gd name="T46" fmla="*/ 636 w 834"/>
                  <a:gd name="T47" fmla="*/ 8515 h 761"/>
                  <a:gd name="T48" fmla="*/ 636 w 834"/>
                  <a:gd name="T49" fmla="*/ 8515 h 761"/>
                  <a:gd name="T50" fmla="*/ 636 w 834"/>
                  <a:gd name="T51" fmla="*/ 8515 h 761"/>
                  <a:gd name="T52" fmla="*/ 636 w 834"/>
                  <a:gd name="T53" fmla="*/ 8515 h 761"/>
                  <a:gd name="T54" fmla="*/ 636 w 834"/>
                  <a:gd name="T55" fmla="*/ 8515 h 761"/>
                  <a:gd name="T56" fmla="*/ 636 w 834"/>
                  <a:gd name="T57" fmla="*/ 8515 h 761"/>
                  <a:gd name="T58" fmla="*/ 636 w 834"/>
                  <a:gd name="T59" fmla="*/ 8515 h 761"/>
                  <a:gd name="T60" fmla="*/ 636 w 834"/>
                  <a:gd name="T61" fmla="*/ 8515 h 761"/>
                  <a:gd name="T62" fmla="*/ 636 w 834"/>
                  <a:gd name="T63" fmla="*/ 8515 h 761"/>
                  <a:gd name="T64" fmla="*/ 636 w 834"/>
                  <a:gd name="T65" fmla="*/ 8515 h 761"/>
                  <a:gd name="T66" fmla="*/ 636 w 834"/>
                  <a:gd name="T67" fmla="*/ 8515 h 761"/>
                  <a:gd name="T68" fmla="*/ 636 w 834"/>
                  <a:gd name="T69" fmla="*/ 8515 h 761"/>
                  <a:gd name="T70" fmla="*/ 636 w 834"/>
                  <a:gd name="T71" fmla="*/ 8515 h 761"/>
                  <a:gd name="T72" fmla="*/ 0 w 834"/>
                  <a:gd name="T73" fmla="*/ 8515 h 761"/>
                  <a:gd name="T74" fmla="*/ 636 w 834"/>
                  <a:gd name="T75" fmla="*/ 8515 h 761"/>
                  <a:gd name="T76" fmla="*/ 636 w 834"/>
                  <a:gd name="T77" fmla="*/ 8515 h 761"/>
                  <a:gd name="T78" fmla="*/ 636 w 834"/>
                  <a:gd name="T79" fmla="*/ 8515 h 761"/>
                  <a:gd name="T80" fmla="*/ 636 w 834"/>
                  <a:gd name="T81" fmla="*/ 8515 h 761"/>
                  <a:gd name="T82" fmla="*/ 636 w 834"/>
                  <a:gd name="T83" fmla="*/ 8515 h 761"/>
                  <a:gd name="T84" fmla="*/ 636 w 834"/>
                  <a:gd name="T85" fmla="*/ 8515 h 761"/>
                  <a:gd name="T86" fmla="*/ 636 w 834"/>
                  <a:gd name="T87" fmla="*/ 8515 h 761"/>
                  <a:gd name="T88" fmla="*/ 636 w 834"/>
                  <a:gd name="T89" fmla="*/ 8515 h 761"/>
                  <a:gd name="T90" fmla="*/ 636 w 834"/>
                  <a:gd name="T91" fmla="*/ 8515 h 761"/>
                  <a:gd name="T92" fmla="*/ 636 w 834"/>
                  <a:gd name="T93" fmla="*/ 8515 h 761"/>
                  <a:gd name="T94" fmla="*/ 636 w 834"/>
                  <a:gd name="T95" fmla="*/ 8515 h 761"/>
                  <a:gd name="T96" fmla="*/ 636 w 834"/>
                  <a:gd name="T97" fmla="*/ 8515 h 761"/>
                  <a:gd name="T98" fmla="*/ 636 w 834"/>
                  <a:gd name="T99" fmla="*/ 8515 h 761"/>
                  <a:gd name="T100" fmla="*/ 636 w 834"/>
                  <a:gd name="T101" fmla="*/ 8515 h 761"/>
                  <a:gd name="T102" fmla="*/ 636 w 834"/>
                  <a:gd name="T103" fmla="*/ 8515 h 761"/>
                  <a:gd name="T104" fmla="*/ 636 w 834"/>
                  <a:gd name="T105" fmla="*/ 8515 h 761"/>
                  <a:gd name="T106" fmla="*/ 636 w 834"/>
                  <a:gd name="T107" fmla="*/ 8515 h 761"/>
                  <a:gd name="T108" fmla="*/ 636 w 834"/>
                  <a:gd name="T109" fmla="*/ 8515 h 761"/>
                  <a:gd name="T110" fmla="*/ 636 w 834"/>
                  <a:gd name="T111" fmla="*/ 8515 h 761"/>
                  <a:gd name="T112" fmla="*/ 636 w 834"/>
                  <a:gd name="T113" fmla="*/ 8515 h 761"/>
                  <a:gd name="T114" fmla="*/ 636 w 834"/>
                  <a:gd name="T115" fmla="*/ 8515 h 761"/>
                  <a:gd name="T116" fmla="*/ 636 w 834"/>
                  <a:gd name="T117" fmla="*/ 8515 h 76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834" h="761">
                    <a:moveTo>
                      <a:pt x="804" y="535"/>
                    </a:moveTo>
                    <a:lnTo>
                      <a:pt x="781" y="481"/>
                    </a:lnTo>
                    <a:lnTo>
                      <a:pt x="772" y="473"/>
                    </a:lnTo>
                    <a:lnTo>
                      <a:pt x="761" y="473"/>
                    </a:lnTo>
                    <a:lnTo>
                      <a:pt x="761" y="449"/>
                    </a:lnTo>
                    <a:lnTo>
                      <a:pt x="749" y="449"/>
                    </a:lnTo>
                    <a:lnTo>
                      <a:pt x="749" y="439"/>
                    </a:lnTo>
                    <a:lnTo>
                      <a:pt x="739" y="419"/>
                    </a:lnTo>
                    <a:lnTo>
                      <a:pt x="719" y="407"/>
                    </a:lnTo>
                    <a:lnTo>
                      <a:pt x="719" y="397"/>
                    </a:lnTo>
                    <a:lnTo>
                      <a:pt x="727" y="385"/>
                    </a:lnTo>
                    <a:lnTo>
                      <a:pt x="727" y="374"/>
                    </a:lnTo>
                    <a:lnTo>
                      <a:pt x="739" y="365"/>
                    </a:lnTo>
                    <a:lnTo>
                      <a:pt x="749" y="365"/>
                    </a:lnTo>
                    <a:lnTo>
                      <a:pt x="772" y="374"/>
                    </a:lnTo>
                    <a:lnTo>
                      <a:pt x="804" y="374"/>
                    </a:lnTo>
                    <a:lnTo>
                      <a:pt x="834" y="323"/>
                    </a:lnTo>
                    <a:lnTo>
                      <a:pt x="834" y="300"/>
                    </a:lnTo>
                    <a:lnTo>
                      <a:pt x="814" y="300"/>
                    </a:lnTo>
                    <a:lnTo>
                      <a:pt x="804" y="290"/>
                    </a:lnTo>
                    <a:lnTo>
                      <a:pt x="804" y="278"/>
                    </a:lnTo>
                    <a:lnTo>
                      <a:pt x="781" y="270"/>
                    </a:lnTo>
                    <a:lnTo>
                      <a:pt x="739" y="290"/>
                    </a:lnTo>
                    <a:lnTo>
                      <a:pt x="739" y="278"/>
                    </a:lnTo>
                    <a:lnTo>
                      <a:pt x="727" y="246"/>
                    </a:lnTo>
                    <a:lnTo>
                      <a:pt x="697" y="235"/>
                    </a:lnTo>
                    <a:lnTo>
                      <a:pt x="653" y="193"/>
                    </a:lnTo>
                    <a:lnTo>
                      <a:pt x="642" y="173"/>
                    </a:lnTo>
                    <a:lnTo>
                      <a:pt x="623" y="161"/>
                    </a:lnTo>
                    <a:lnTo>
                      <a:pt x="623" y="139"/>
                    </a:lnTo>
                    <a:lnTo>
                      <a:pt x="623" y="128"/>
                    </a:lnTo>
                    <a:lnTo>
                      <a:pt x="623" y="97"/>
                    </a:lnTo>
                    <a:lnTo>
                      <a:pt x="611" y="86"/>
                    </a:lnTo>
                    <a:lnTo>
                      <a:pt x="600" y="44"/>
                    </a:lnTo>
                    <a:lnTo>
                      <a:pt x="588" y="44"/>
                    </a:lnTo>
                    <a:lnTo>
                      <a:pt x="558" y="24"/>
                    </a:lnTo>
                    <a:lnTo>
                      <a:pt x="535" y="12"/>
                    </a:lnTo>
                    <a:lnTo>
                      <a:pt x="516" y="24"/>
                    </a:lnTo>
                    <a:lnTo>
                      <a:pt x="473" y="54"/>
                    </a:lnTo>
                    <a:lnTo>
                      <a:pt x="473" y="24"/>
                    </a:lnTo>
                    <a:lnTo>
                      <a:pt x="450" y="12"/>
                    </a:lnTo>
                    <a:lnTo>
                      <a:pt x="407" y="24"/>
                    </a:lnTo>
                    <a:lnTo>
                      <a:pt x="385" y="12"/>
                    </a:lnTo>
                    <a:lnTo>
                      <a:pt x="365" y="12"/>
                    </a:lnTo>
                    <a:lnTo>
                      <a:pt x="365" y="0"/>
                    </a:lnTo>
                    <a:lnTo>
                      <a:pt x="332" y="24"/>
                    </a:lnTo>
                    <a:lnTo>
                      <a:pt x="323" y="44"/>
                    </a:lnTo>
                    <a:lnTo>
                      <a:pt x="312" y="74"/>
                    </a:lnTo>
                    <a:lnTo>
                      <a:pt x="300" y="74"/>
                    </a:lnTo>
                    <a:lnTo>
                      <a:pt x="270" y="74"/>
                    </a:lnTo>
                    <a:lnTo>
                      <a:pt x="258" y="108"/>
                    </a:lnTo>
                    <a:lnTo>
                      <a:pt x="246" y="108"/>
                    </a:lnTo>
                    <a:lnTo>
                      <a:pt x="236" y="119"/>
                    </a:lnTo>
                    <a:lnTo>
                      <a:pt x="224" y="128"/>
                    </a:lnTo>
                    <a:lnTo>
                      <a:pt x="236" y="151"/>
                    </a:lnTo>
                    <a:lnTo>
                      <a:pt x="258" y="151"/>
                    </a:lnTo>
                    <a:lnTo>
                      <a:pt x="246" y="181"/>
                    </a:lnTo>
                    <a:lnTo>
                      <a:pt x="224" y="181"/>
                    </a:lnTo>
                    <a:lnTo>
                      <a:pt x="216" y="204"/>
                    </a:lnTo>
                    <a:lnTo>
                      <a:pt x="193" y="216"/>
                    </a:lnTo>
                    <a:lnTo>
                      <a:pt x="193" y="270"/>
                    </a:lnTo>
                    <a:lnTo>
                      <a:pt x="181" y="312"/>
                    </a:lnTo>
                    <a:lnTo>
                      <a:pt x="204" y="342"/>
                    </a:lnTo>
                    <a:lnTo>
                      <a:pt x="193" y="342"/>
                    </a:lnTo>
                    <a:lnTo>
                      <a:pt x="162" y="332"/>
                    </a:lnTo>
                    <a:lnTo>
                      <a:pt x="139" y="354"/>
                    </a:lnTo>
                    <a:lnTo>
                      <a:pt x="119" y="354"/>
                    </a:lnTo>
                    <a:lnTo>
                      <a:pt x="128" y="374"/>
                    </a:lnTo>
                    <a:lnTo>
                      <a:pt x="109" y="385"/>
                    </a:lnTo>
                    <a:lnTo>
                      <a:pt x="97" y="374"/>
                    </a:lnTo>
                    <a:lnTo>
                      <a:pt x="74" y="397"/>
                    </a:lnTo>
                    <a:lnTo>
                      <a:pt x="55" y="397"/>
                    </a:lnTo>
                    <a:lnTo>
                      <a:pt x="32" y="407"/>
                    </a:lnTo>
                    <a:lnTo>
                      <a:pt x="0" y="397"/>
                    </a:lnTo>
                    <a:lnTo>
                      <a:pt x="43" y="523"/>
                    </a:lnTo>
                    <a:lnTo>
                      <a:pt x="32" y="588"/>
                    </a:lnTo>
                    <a:lnTo>
                      <a:pt x="0" y="642"/>
                    </a:lnTo>
                    <a:lnTo>
                      <a:pt x="32" y="685"/>
                    </a:lnTo>
                    <a:lnTo>
                      <a:pt x="32" y="727"/>
                    </a:lnTo>
                    <a:lnTo>
                      <a:pt x="55" y="761"/>
                    </a:lnTo>
                    <a:lnTo>
                      <a:pt x="66" y="749"/>
                    </a:lnTo>
                    <a:lnTo>
                      <a:pt x="97" y="739"/>
                    </a:lnTo>
                    <a:lnTo>
                      <a:pt x="119" y="727"/>
                    </a:lnTo>
                    <a:lnTo>
                      <a:pt x="128" y="719"/>
                    </a:lnTo>
                    <a:lnTo>
                      <a:pt x="128" y="707"/>
                    </a:lnTo>
                    <a:lnTo>
                      <a:pt x="139" y="695"/>
                    </a:lnTo>
                    <a:lnTo>
                      <a:pt x="204" y="673"/>
                    </a:lnTo>
                    <a:lnTo>
                      <a:pt x="224" y="673"/>
                    </a:lnTo>
                    <a:lnTo>
                      <a:pt x="258" y="665"/>
                    </a:lnTo>
                    <a:lnTo>
                      <a:pt x="290" y="673"/>
                    </a:lnTo>
                    <a:lnTo>
                      <a:pt x="312" y="685"/>
                    </a:lnTo>
                    <a:lnTo>
                      <a:pt x="343" y="673"/>
                    </a:lnTo>
                    <a:lnTo>
                      <a:pt x="385" y="685"/>
                    </a:lnTo>
                    <a:lnTo>
                      <a:pt x="385" y="695"/>
                    </a:lnTo>
                    <a:lnTo>
                      <a:pt x="397" y="707"/>
                    </a:lnTo>
                    <a:lnTo>
                      <a:pt x="427" y="695"/>
                    </a:lnTo>
                    <a:lnTo>
                      <a:pt x="427" y="719"/>
                    </a:lnTo>
                    <a:lnTo>
                      <a:pt x="439" y="719"/>
                    </a:lnTo>
                    <a:lnTo>
                      <a:pt x="450" y="707"/>
                    </a:lnTo>
                    <a:lnTo>
                      <a:pt x="481" y="695"/>
                    </a:lnTo>
                    <a:lnTo>
                      <a:pt x="481" y="685"/>
                    </a:lnTo>
                    <a:lnTo>
                      <a:pt x="516" y="695"/>
                    </a:lnTo>
                    <a:lnTo>
                      <a:pt x="524" y="685"/>
                    </a:lnTo>
                    <a:lnTo>
                      <a:pt x="546" y="707"/>
                    </a:lnTo>
                    <a:lnTo>
                      <a:pt x="568" y="665"/>
                    </a:lnTo>
                    <a:lnTo>
                      <a:pt x="588" y="685"/>
                    </a:lnTo>
                    <a:lnTo>
                      <a:pt x="600" y="695"/>
                    </a:lnTo>
                    <a:lnTo>
                      <a:pt x="611" y="695"/>
                    </a:lnTo>
                    <a:lnTo>
                      <a:pt x="623" y="685"/>
                    </a:lnTo>
                    <a:lnTo>
                      <a:pt x="673" y="673"/>
                    </a:lnTo>
                    <a:lnTo>
                      <a:pt x="707" y="685"/>
                    </a:lnTo>
                    <a:lnTo>
                      <a:pt x="719" y="673"/>
                    </a:lnTo>
                    <a:lnTo>
                      <a:pt x="719" y="665"/>
                    </a:lnTo>
                    <a:lnTo>
                      <a:pt x="707" y="642"/>
                    </a:lnTo>
                    <a:lnTo>
                      <a:pt x="707" y="600"/>
                    </a:lnTo>
                    <a:lnTo>
                      <a:pt x="727" y="558"/>
                    </a:lnTo>
                    <a:lnTo>
                      <a:pt x="772" y="535"/>
                    </a:lnTo>
                    <a:lnTo>
                      <a:pt x="804" y="535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8" name="Freeform 22"/>
              <p:cNvSpPr>
                <a:spLocks/>
              </p:cNvSpPr>
              <p:nvPr/>
            </p:nvSpPr>
            <p:spPr bwMode="auto">
              <a:xfrm>
                <a:off x="2605688" y="1440035"/>
                <a:ext cx="58233" cy="33338"/>
              </a:xfrm>
              <a:custGeom>
                <a:avLst/>
                <a:gdLst>
                  <a:gd name="T0" fmla="*/ 0 w 85"/>
                  <a:gd name="T1" fmla="*/ 3886 h 54"/>
                  <a:gd name="T2" fmla="*/ 229 w 85"/>
                  <a:gd name="T3" fmla="*/ 3886 h 54"/>
                  <a:gd name="T4" fmla="*/ 229 w 85"/>
                  <a:gd name="T5" fmla="*/ 3886 h 54"/>
                  <a:gd name="T6" fmla="*/ 229 w 85"/>
                  <a:gd name="T7" fmla="*/ 0 h 54"/>
                  <a:gd name="T8" fmla="*/ 0 w 85"/>
                  <a:gd name="T9" fmla="*/ 3886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5" h="54">
                    <a:moveTo>
                      <a:pt x="0" y="20"/>
                    </a:moveTo>
                    <a:lnTo>
                      <a:pt x="20" y="54"/>
                    </a:lnTo>
                    <a:lnTo>
                      <a:pt x="85" y="12"/>
                    </a:lnTo>
                    <a:lnTo>
                      <a:pt x="20" y="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39" name="Freeform 23"/>
              <p:cNvSpPr>
                <a:spLocks/>
              </p:cNvSpPr>
              <p:nvPr/>
            </p:nvSpPr>
            <p:spPr bwMode="auto">
              <a:xfrm>
                <a:off x="2605688" y="1440035"/>
                <a:ext cx="58233" cy="33338"/>
              </a:xfrm>
              <a:custGeom>
                <a:avLst/>
                <a:gdLst>
                  <a:gd name="T0" fmla="*/ 0 w 85"/>
                  <a:gd name="T1" fmla="*/ 3886 h 54"/>
                  <a:gd name="T2" fmla="*/ 229 w 85"/>
                  <a:gd name="T3" fmla="*/ 3886 h 54"/>
                  <a:gd name="T4" fmla="*/ 229 w 85"/>
                  <a:gd name="T5" fmla="*/ 3886 h 54"/>
                  <a:gd name="T6" fmla="*/ 229 w 85"/>
                  <a:gd name="T7" fmla="*/ 0 h 54"/>
                  <a:gd name="T8" fmla="*/ 0 w 85"/>
                  <a:gd name="T9" fmla="*/ 3886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5" h="54">
                    <a:moveTo>
                      <a:pt x="0" y="20"/>
                    </a:moveTo>
                    <a:lnTo>
                      <a:pt x="20" y="54"/>
                    </a:lnTo>
                    <a:lnTo>
                      <a:pt x="85" y="12"/>
                    </a:lnTo>
                    <a:lnTo>
                      <a:pt x="20" y="0"/>
                    </a:lnTo>
                    <a:lnTo>
                      <a:pt x="0" y="20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0" name="Freeform 24"/>
              <p:cNvSpPr>
                <a:spLocks/>
              </p:cNvSpPr>
              <p:nvPr/>
            </p:nvSpPr>
            <p:spPr bwMode="auto">
              <a:xfrm>
                <a:off x="3947210" y="2024235"/>
                <a:ext cx="62547" cy="90488"/>
              </a:xfrm>
              <a:custGeom>
                <a:avLst/>
                <a:gdLst>
                  <a:gd name="T0" fmla="*/ 0 w 86"/>
                  <a:gd name="T1" fmla="*/ 8165 h 139"/>
                  <a:gd name="T2" fmla="*/ 528 w 86"/>
                  <a:gd name="T3" fmla="*/ 8165 h 139"/>
                  <a:gd name="T4" fmla="*/ 528 w 86"/>
                  <a:gd name="T5" fmla="*/ 8165 h 139"/>
                  <a:gd name="T6" fmla="*/ 528 w 86"/>
                  <a:gd name="T7" fmla="*/ 8165 h 139"/>
                  <a:gd name="T8" fmla="*/ 528 w 86"/>
                  <a:gd name="T9" fmla="*/ 0 h 139"/>
                  <a:gd name="T10" fmla="*/ 528 w 86"/>
                  <a:gd name="T11" fmla="*/ 8165 h 139"/>
                  <a:gd name="T12" fmla="*/ 0 w 86"/>
                  <a:gd name="T13" fmla="*/ 8165 h 1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6" h="139">
                    <a:moveTo>
                      <a:pt x="0" y="74"/>
                    </a:moveTo>
                    <a:lnTo>
                      <a:pt x="12" y="139"/>
                    </a:lnTo>
                    <a:lnTo>
                      <a:pt x="54" y="107"/>
                    </a:lnTo>
                    <a:lnTo>
                      <a:pt x="54" y="43"/>
                    </a:lnTo>
                    <a:lnTo>
                      <a:pt x="86" y="0"/>
                    </a:lnTo>
                    <a:lnTo>
                      <a:pt x="24" y="32"/>
                    </a:lnTo>
                    <a:lnTo>
                      <a:pt x="0" y="74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1" name="Freeform 25"/>
              <p:cNvSpPr>
                <a:spLocks/>
              </p:cNvSpPr>
              <p:nvPr/>
            </p:nvSpPr>
            <p:spPr bwMode="auto">
              <a:xfrm>
                <a:off x="4162889" y="1948035"/>
                <a:ext cx="77644" cy="47625"/>
              </a:xfrm>
              <a:custGeom>
                <a:avLst/>
                <a:gdLst>
                  <a:gd name="T0" fmla="*/ 0 w 107"/>
                  <a:gd name="T1" fmla="*/ 3988 h 77"/>
                  <a:gd name="T2" fmla="*/ 511 w 107"/>
                  <a:gd name="T3" fmla="*/ 3988 h 77"/>
                  <a:gd name="T4" fmla="*/ 511 w 107"/>
                  <a:gd name="T5" fmla="*/ 3988 h 77"/>
                  <a:gd name="T6" fmla="*/ 511 w 107"/>
                  <a:gd name="T7" fmla="*/ 0 h 77"/>
                  <a:gd name="T8" fmla="*/ 0 w 107"/>
                  <a:gd name="T9" fmla="*/ 3988 h 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7" h="77">
                    <a:moveTo>
                      <a:pt x="0" y="43"/>
                    </a:moveTo>
                    <a:lnTo>
                      <a:pt x="33" y="77"/>
                    </a:lnTo>
                    <a:lnTo>
                      <a:pt x="107" y="12"/>
                    </a:lnTo>
                    <a:lnTo>
                      <a:pt x="33" y="0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2" name="Freeform 26"/>
              <p:cNvSpPr>
                <a:spLocks/>
              </p:cNvSpPr>
              <p:nvPr/>
            </p:nvSpPr>
            <p:spPr bwMode="auto">
              <a:xfrm>
                <a:off x="4186614" y="1898823"/>
                <a:ext cx="38822" cy="36513"/>
              </a:xfrm>
              <a:custGeom>
                <a:avLst/>
                <a:gdLst>
                  <a:gd name="T0" fmla="*/ 0 w 55"/>
                  <a:gd name="T1" fmla="*/ 18041 h 53"/>
                  <a:gd name="T2" fmla="*/ 347 w 55"/>
                  <a:gd name="T3" fmla="*/ 18041 h 53"/>
                  <a:gd name="T4" fmla="*/ 347 w 55"/>
                  <a:gd name="T5" fmla="*/ 18041 h 53"/>
                  <a:gd name="T6" fmla="*/ 347 w 55"/>
                  <a:gd name="T7" fmla="*/ 0 h 53"/>
                  <a:gd name="T8" fmla="*/ 0 w 55"/>
                  <a:gd name="T9" fmla="*/ 18041 h 5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55" h="53">
                    <a:moveTo>
                      <a:pt x="0" y="30"/>
                    </a:moveTo>
                    <a:lnTo>
                      <a:pt x="10" y="53"/>
                    </a:lnTo>
                    <a:lnTo>
                      <a:pt x="55" y="30"/>
                    </a:lnTo>
                    <a:lnTo>
                      <a:pt x="10" y="0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3" name="Freeform 27"/>
              <p:cNvSpPr>
                <a:spLocks/>
              </p:cNvSpPr>
              <p:nvPr/>
            </p:nvSpPr>
            <p:spPr bwMode="auto">
              <a:xfrm>
                <a:off x="3220373" y="3499023"/>
                <a:ext cx="79801" cy="158750"/>
              </a:xfrm>
              <a:custGeom>
                <a:avLst/>
                <a:gdLst>
                  <a:gd name="T0" fmla="*/ 751 w 107"/>
                  <a:gd name="T1" fmla="*/ 7225 h 246"/>
                  <a:gd name="T2" fmla="*/ 0 w 107"/>
                  <a:gd name="T3" fmla="*/ 7225 h 246"/>
                  <a:gd name="T4" fmla="*/ 0 w 107"/>
                  <a:gd name="T5" fmla="*/ 7225 h 246"/>
                  <a:gd name="T6" fmla="*/ 751 w 107"/>
                  <a:gd name="T7" fmla="*/ 7225 h 246"/>
                  <a:gd name="T8" fmla="*/ 751 w 107"/>
                  <a:gd name="T9" fmla="*/ 7225 h 246"/>
                  <a:gd name="T10" fmla="*/ 751 w 107"/>
                  <a:gd name="T11" fmla="*/ 7225 h 246"/>
                  <a:gd name="T12" fmla="*/ 751 w 107"/>
                  <a:gd name="T13" fmla="*/ 7225 h 246"/>
                  <a:gd name="T14" fmla="*/ 751 w 107"/>
                  <a:gd name="T15" fmla="*/ 0 h 246"/>
                  <a:gd name="T16" fmla="*/ 751 w 107"/>
                  <a:gd name="T17" fmla="*/ 7225 h 246"/>
                  <a:gd name="T18" fmla="*/ 751 w 107"/>
                  <a:gd name="T19" fmla="*/ 7225 h 24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07" h="246">
                    <a:moveTo>
                      <a:pt x="12" y="62"/>
                    </a:moveTo>
                    <a:lnTo>
                      <a:pt x="0" y="127"/>
                    </a:lnTo>
                    <a:lnTo>
                      <a:pt x="0" y="181"/>
                    </a:lnTo>
                    <a:lnTo>
                      <a:pt x="54" y="246"/>
                    </a:lnTo>
                    <a:lnTo>
                      <a:pt x="74" y="169"/>
                    </a:lnTo>
                    <a:lnTo>
                      <a:pt x="107" y="115"/>
                    </a:lnTo>
                    <a:lnTo>
                      <a:pt x="96" y="73"/>
                    </a:lnTo>
                    <a:lnTo>
                      <a:pt x="107" y="0"/>
                    </a:lnTo>
                    <a:lnTo>
                      <a:pt x="74" y="42"/>
                    </a:lnTo>
                    <a:lnTo>
                      <a:pt x="12" y="62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4" name="Freeform 28"/>
              <p:cNvSpPr>
                <a:spLocks/>
              </p:cNvSpPr>
              <p:nvPr/>
            </p:nvSpPr>
            <p:spPr bwMode="auto">
              <a:xfrm>
                <a:off x="3220373" y="3499023"/>
                <a:ext cx="79801" cy="158750"/>
              </a:xfrm>
              <a:custGeom>
                <a:avLst/>
                <a:gdLst>
                  <a:gd name="T0" fmla="*/ 751 w 107"/>
                  <a:gd name="T1" fmla="*/ 7225 h 246"/>
                  <a:gd name="T2" fmla="*/ 0 w 107"/>
                  <a:gd name="T3" fmla="*/ 7225 h 246"/>
                  <a:gd name="T4" fmla="*/ 0 w 107"/>
                  <a:gd name="T5" fmla="*/ 7225 h 246"/>
                  <a:gd name="T6" fmla="*/ 751 w 107"/>
                  <a:gd name="T7" fmla="*/ 7225 h 246"/>
                  <a:gd name="T8" fmla="*/ 751 w 107"/>
                  <a:gd name="T9" fmla="*/ 7225 h 246"/>
                  <a:gd name="T10" fmla="*/ 751 w 107"/>
                  <a:gd name="T11" fmla="*/ 7225 h 246"/>
                  <a:gd name="T12" fmla="*/ 751 w 107"/>
                  <a:gd name="T13" fmla="*/ 7225 h 246"/>
                  <a:gd name="T14" fmla="*/ 751 w 107"/>
                  <a:gd name="T15" fmla="*/ 0 h 246"/>
                  <a:gd name="T16" fmla="*/ 751 w 107"/>
                  <a:gd name="T17" fmla="*/ 7225 h 246"/>
                  <a:gd name="T18" fmla="*/ 751 w 107"/>
                  <a:gd name="T19" fmla="*/ 7225 h 24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07" h="246">
                    <a:moveTo>
                      <a:pt x="12" y="62"/>
                    </a:moveTo>
                    <a:lnTo>
                      <a:pt x="0" y="127"/>
                    </a:lnTo>
                    <a:lnTo>
                      <a:pt x="0" y="181"/>
                    </a:lnTo>
                    <a:lnTo>
                      <a:pt x="54" y="246"/>
                    </a:lnTo>
                    <a:lnTo>
                      <a:pt x="74" y="169"/>
                    </a:lnTo>
                    <a:lnTo>
                      <a:pt x="107" y="115"/>
                    </a:lnTo>
                    <a:lnTo>
                      <a:pt x="96" y="73"/>
                    </a:lnTo>
                    <a:lnTo>
                      <a:pt x="107" y="0"/>
                    </a:lnTo>
                    <a:lnTo>
                      <a:pt x="74" y="42"/>
                    </a:lnTo>
                    <a:lnTo>
                      <a:pt x="12" y="62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5" name="Freeform 29"/>
              <p:cNvSpPr>
                <a:spLocks/>
              </p:cNvSpPr>
              <p:nvPr/>
            </p:nvSpPr>
            <p:spPr bwMode="auto">
              <a:xfrm>
                <a:off x="3164296" y="3665710"/>
                <a:ext cx="135878" cy="236538"/>
              </a:xfrm>
              <a:custGeom>
                <a:avLst/>
                <a:gdLst>
                  <a:gd name="T0" fmla="*/ 653 w 184"/>
                  <a:gd name="T1" fmla="*/ 7664 h 365"/>
                  <a:gd name="T2" fmla="*/ 0 w 184"/>
                  <a:gd name="T3" fmla="*/ 7664 h 365"/>
                  <a:gd name="T4" fmla="*/ 653 w 184"/>
                  <a:gd name="T5" fmla="*/ 7664 h 365"/>
                  <a:gd name="T6" fmla="*/ 653 w 184"/>
                  <a:gd name="T7" fmla="*/ 7664 h 365"/>
                  <a:gd name="T8" fmla="*/ 0 w 184"/>
                  <a:gd name="T9" fmla="*/ 7664 h 365"/>
                  <a:gd name="T10" fmla="*/ 653 w 184"/>
                  <a:gd name="T11" fmla="*/ 7664 h 365"/>
                  <a:gd name="T12" fmla="*/ 653 w 184"/>
                  <a:gd name="T13" fmla="*/ 7664 h 365"/>
                  <a:gd name="T14" fmla="*/ 653 w 184"/>
                  <a:gd name="T15" fmla="*/ 7664 h 365"/>
                  <a:gd name="T16" fmla="*/ 653 w 184"/>
                  <a:gd name="T17" fmla="*/ 7664 h 365"/>
                  <a:gd name="T18" fmla="*/ 653 w 184"/>
                  <a:gd name="T19" fmla="*/ 7664 h 365"/>
                  <a:gd name="T20" fmla="*/ 653 w 184"/>
                  <a:gd name="T21" fmla="*/ 7664 h 365"/>
                  <a:gd name="T22" fmla="*/ 653 w 184"/>
                  <a:gd name="T23" fmla="*/ 7664 h 365"/>
                  <a:gd name="T24" fmla="*/ 653 w 184"/>
                  <a:gd name="T25" fmla="*/ 0 h 365"/>
                  <a:gd name="T26" fmla="*/ 653 w 184"/>
                  <a:gd name="T27" fmla="*/ 7664 h 365"/>
                  <a:gd name="T28" fmla="*/ 653 w 184"/>
                  <a:gd name="T29" fmla="*/ 7664 h 365"/>
                  <a:gd name="T30" fmla="*/ 653 w 184"/>
                  <a:gd name="T31" fmla="*/ 7664 h 36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84" h="365">
                    <a:moveTo>
                      <a:pt x="12" y="45"/>
                    </a:moveTo>
                    <a:lnTo>
                      <a:pt x="0" y="87"/>
                    </a:lnTo>
                    <a:lnTo>
                      <a:pt x="23" y="161"/>
                    </a:lnTo>
                    <a:lnTo>
                      <a:pt x="23" y="238"/>
                    </a:lnTo>
                    <a:lnTo>
                      <a:pt x="0" y="310"/>
                    </a:lnTo>
                    <a:lnTo>
                      <a:pt x="43" y="365"/>
                    </a:lnTo>
                    <a:lnTo>
                      <a:pt x="97" y="310"/>
                    </a:lnTo>
                    <a:lnTo>
                      <a:pt x="139" y="322"/>
                    </a:lnTo>
                    <a:lnTo>
                      <a:pt x="173" y="258"/>
                    </a:lnTo>
                    <a:lnTo>
                      <a:pt x="184" y="196"/>
                    </a:lnTo>
                    <a:lnTo>
                      <a:pt x="184" y="129"/>
                    </a:lnTo>
                    <a:lnTo>
                      <a:pt x="184" y="65"/>
                    </a:lnTo>
                    <a:lnTo>
                      <a:pt x="139" y="0"/>
                    </a:lnTo>
                    <a:lnTo>
                      <a:pt x="77" y="45"/>
                    </a:lnTo>
                    <a:lnTo>
                      <a:pt x="35" y="54"/>
                    </a:lnTo>
                    <a:lnTo>
                      <a:pt x="12" y="45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6" name="Freeform 30"/>
              <p:cNvSpPr>
                <a:spLocks/>
              </p:cNvSpPr>
              <p:nvPr/>
            </p:nvSpPr>
            <p:spPr bwMode="auto">
              <a:xfrm>
                <a:off x="3164296" y="3665710"/>
                <a:ext cx="135878" cy="236538"/>
              </a:xfrm>
              <a:custGeom>
                <a:avLst/>
                <a:gdLst>
                  <a:gd name="T0" fmla="*/ 653 w 184"/>
                  <a:gd name="T1" fmla="*/ 7664 h 365"/>
                  <a:gd name="T2" fmla="*/ 0 w 184"/>
                  <a:gd name="T3" fmla="*/ 7664 h 365"/>
                  <a:gd name="T4" fmla="*/ 653 w 184"/>
                  <a:gd name="T5" fmla="*/ 7664 h 365"/>
                  <a:gd name="T6" fmla="*/ 653 w 184"/>
                  <a:gd name="T7" fmla="*/ 7664 h 365"/>
                  <a:gd name="T8" fmla="*/ 0 w 184"/>
                  <a:gd name="T9" fmla="*/ 7664 h 365"/>
                  <a:gd name="T10" fmla="*/ 653 w 184"/>
                  <a:gd name="T11" fmla="*/ 7664 h 365"/>
                  <a:gd name="T12" fmla="*/ 653 w 184"/>
                  <a:gd name="T13" fmla="*/ 7664 h 365"/>
                  <a:gd name="T14" fmla="*/ 653 w 184"/>
                  <a:gd name="T15" fmla="*/ 7664 h 365"/>
                  <a:gd name="T16" fmla="*/ 653 w 184"/>
                  <a:gd name="T17" fmla="*/ 7664 h 365"/>
                  <a:gd name="T18" fmla="*/ 653 w 184"/>
                  <a:gd name="T19" fmla="*/ 7664 h 365"/>
                  <a:gd name="T20" fmla="*/ 653 w 184"/>
                  <a:gd name="T21" fmla="*/ 7664 h 365"/>
                  <a:gd name="T22" fmla="*/ 653 w 184"/>
                  <a:gd name="T23" fmla="*/ 7664 h 365"/>
                  <a:gd name="T24" fmla="*/ 653 w 184"/>
                  <a:gd name="T25" fmla="*/ 0 h 365"/>
                  <a:gd name="T26" fmla="*/ 653 w 184"/>
                  <a:gd name="T27" fmla="*/ 7664 h 365"/>
                  <a:gd name="T28" fmla="*/ 653 w 184"/>
                  <a:gd name="T29" fmla="*/ 7664 h 365"/>
                  <a:gd name="T30" fmla="*/ 653 w 184"/>
                  <a:gd name="T31" fmla="*/ 7664 h 36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184" h="365">
                    <a:moveTo>
                      <a:pt x="12" y="45"/>
                    </a:moveTo>
                    <a:lnTo>
                      <a:pt x="0" y="87"/>
                    </a:lnTo>
                    <a:lnTo>
                      <a:pt x="23" y="161"/>
                    </a:lnTo>
                    <a:lnTo>
                      <a:pt x="23" y="238"/>
                    </a:lnTo>
                    <a:lnTo>
                      <a:pt x="0" y="310"/>
                    </a:lnTo>
                    <a:lnTo>
                      <a:pt x="43" y="365"/>
                    </a:lnTo>
                    <a:lnTo>
                      <a:pt x="97" y="310"/>
                    </a:lnTo>
                    <a:lnTo>
                      <a:pt x="139" y="322"/>
                    </a:lnTo>
                    <a:lnTo>
                      <a:pt x="173" y="258"/>
                    </a:lnTo>
                    <a:lnTo>
                      <a:pt x="184" y="196"/>
                    </a:lnTo>
                    <a:lnTo>
                      <a:pt x="184" y="129"/>
                    </a:lnTo>
                    <a:lnTo>
                      <a:pt x="184" y="65"/>
                    </a:lnTo>
                    <a:lnTo>
                      <a:pt x="139" y="0"/>
                    </a:lnTo>
                    <a:lnTo>
                      <a:pt x="77" y="45"/>
                    </a:lnTo>
                    <a:lnTo>
                      <a:pt x="35" y="54"/>
                    </a:lnTo>
                    <a:lnTo>
                      <a:pt x="12" y="45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7" name="Freeform 31"/>
              <p:cNvSpPr>
                <a:spLocks/>
              </p:cNvSpPr>
              <p:nvPr/>
            </p:nvSpPr>
            <p:spPr bwMode="auto">
              <a:xfrm>
                <a:off x="3520166" y="3980035"/>
                <a:ext cx="301950" cy="158750"/>
              </a:xfrm>
              <a:custGeom>
                <a:avLst/>
                <a:gdLst>
                  <a:gd name="T0" fmla="*/ 0 w 404"/>
                  <a:gd name="T1" fmla="*/ 7649 h 245"/>
                  <a:gd name="T2" fmla="*/ 773 w 404"/>
                  <a:gd name="T3" fmla="*/ 7649 h 245"/>
                  <a:gd name="T4" fmla="*/ 773 w 404"/>
                  <a:gd name="T5" fmla="*/ 7649 h 245"/>
                  <a:gd name="T6" fmla="*/ 773 w 404"/>
                  <a:gd name="T7" fmla="*/ 7649 h 245"/>
                  <a:gd name="T8" fmla="*/ 773 w 404"/>
                  <a:gd name="T9" fmla="*/ 7649 h 245"/>
                  <a:gd name="T10" fmla="*/ 773 w 404"/>
                  <a:gd name="T11" fmla="*/ 7649 h 245"/>
                  <a:gd name="T12" fmla="*/ 773 w 404"/>
                  <a:gd name="T13" fmla="*/ 7649 h 245"/>
                  <a:gd name="T14" fmla="*/ 773 w 404"/>
                  <a:gd name="T15" fmla="*/ 7649 h 245"/>
                  <a:gd name="T16" fmla="*/ 773 w 404"/>
                  <a:gd name="T17" fmla="*/ 7649 h 245"/>
                  <a:gd name="T18" fmla="*/ 773 w 404"/>
                  <a:gd name="T19" fmla="*/ 7649 h 245"/>
                  <a:gd name="T20" fmla="*/ 773 w 404"/>
                  <a:gd name="T21" fmla="*/ 0 h 245"/>
                  <a:gd name="T22" fmla="*/ 773 w 404"/>
                  <a:gd name="T23" fmla="*/ 7649 h 245"/>
                  <a:gd name="T24" fmla="*/ 773 w 404"/>
                  <a:gd name="T25" fmla="*/ 7649 h 245"/>
                  <a:gd name="T26" fmla="*/ 773 w 404"/>
                  <a:gd name="T27" fmla="*/ 7649 h 245"/>
                  <a:gd name="T28" fmla="*/ 773 w 404"/>
                  <a:gd name="T29" fmla="*/ 7649 h 245"/>
                  <a:gd name="T30" fmla="*/ 773 w 404"/>
                  <a:gd name="T31" fmla="*/ 7649 h 245"/>
                  <a:gd name="T32" fmla="*/ 0 w 404"/>
                  <a:gd name="T33" fmla="*/ 7649 h 24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4" h="245">
                    <a:moveTo>
                      <a:pt x="0" y="42"/>
                    </a:moveTo>
                    <a:lnTo>
                      <a:pt x="32" y="107"/>
                    </a:lnTo>
                    <a:lnTo>
                      <a:pt x="74" y="115"/>
                    </a:lnTo>
                    <a:lnTo>
                      <a:pt x="158" y="158"/>
                    </a:lnTo>
                    <a:lnTo>
                      <a:pt x="223" y="181"/>
                    </a:lnTo>
                    <a:lnTo>
                      <a:pt x="255" y="234"/>
                    </a:lnTo>
                    <a:lnTo>
                      <a:pt x="342" y="245"/>
                    </a:lnTo>
                    <a:lnTo>
                      <a:pt x="362" y="191"/>
                    </a:lnTo>
                    <a:lnTo>
                      <a:pt x="342" y="138"/>
                    </a:lnTo>
                    <a:lnTo>
                      <a:pt x="362" y="64"/>
                    </a:lnTo>
                    <a:lnTo>
                      <a:pt x="404" y="0"/>
                    </a:lnTo>
                    <a:lnTo>
                      <a:pt x="320" y="30"/>
                    </a:lnTo>
                    <a:lnTo>
                      <a:pt x="235" y="42"/>
                    </a:lnTo>
                    <a:lnTo>
                      <a:pt x="158" y="42"/>
                    </a:lnTo>
                    <a:lnTo>
                      <a:pt x="104" y="8"/>
                    </a:lnTo>
                    <a:lnTo>
                      <a:pt x="42" y="8"/>
                    </a:lnTo>
                    <a:lnTo>
                      <a:pt x="0" y="42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8" name="Freeform 32"/>
              <p:cNvSpPr>
                <a:spLocks/>
              </p:cNvSpPr>
              <p:nvPr/>
            </p:nvSpPr>
            <p:spPr bwMode="auto">
              <a:xfrm>
                <a:off x="4320335" y="3957810"/>
                <a:ext cx="196268" cy="174625"/>
              </a:xfrm>
              <a:custGeom>
                <a:avLst/>
                <a:gdLst>
                  <a:gd name="T0" fmla="*/ 0 w 270"/>
                  <a:gd name="T1" fmla="*/ 7850 h 269"/>
                  <a:gd name="T2" fmla="*/ 524 w 270"/>
                  <a:gd name="T3" fmla="*/ 7850 h 269"/>
                  <a:gd name="T4" fmla="*/ 524 w 270"/>
                  <a:gd name="T5" fmla="*/ 7850 h 269"/>
                  <a:gd name="T6" fmla="*/ 524 w 270"/>
                  <a:gd name="T7" fmla="*/ 7850 h 269"/>
                  <a:gd name="T8" fmla="*/ 524 w 270"/>
                  <a:gd name="T9" fmla="*/ 7850 h 269"/>
                  <a:gd name="T10" fmla="*/ 524 w 270"/>
                  <a:gd name="T11" fmla="*/ 7850 h 269"/>
                  <a:gd name="T12" fmla="*/ 524 w 270"/>
                  <a:gd name="T13" fmla="*/ 7850 h 269"/>
                  <a:gd name="T14" fmla="*/ 524 w 270"/>
                  <a:gd name="T15" fmla="*/ 7850 h 269"/>
                  <a:gd name="T16" fmla="*/ 524 w 270"/>
                  <a:gd name="T17" fmla="*/ 7850 h 269"/>
                  <a:gd name="T18" fmla="*/ 524 w 270"/>
                  <a:gd name="T19" fmla="*/ 7850 h 269"/>
                  <a:gd name="T20" fmla="*/ 524 w 270"/>
                  <a:gd name="T21" fmla="*/ 7850 h 269"/>
                  <a:gd name="T22" fmla="*/ 524 w 270"/>
                  <a:gd name="T23" fmla="*/ 7850 h 269"/>
                  <a:gd name="T24" fmla="*/ 524 w 270"/>
                  <a:gd name="T25" fmla="*/ 0 h 269"/>
                  <a:gd name="T26" fmla="*/ 524 w 270"/>
                  <a:gd name="T27" fmla="*/ 7850 h 269"/>
                  <a:gd name="T28" fmla="*/ 0 w 270"/>
                  <a:gd name="T29" fmla="*/ 7850 h 26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70" h="269">
                    <a:moveTo>
                      <a:pt x="0" y="77"/>
                    </a:moveTo>
                    <a:lnTo>
                      <a:pt x="66" y="119"/>
                    </a:lnTo>
                    <a:lnTo>
                      <a:pt x="66" y="184"/>
                    </a:lnTo>
                    <a:lnTo>
                      <a:pt x="85" y="226"/>
                    </a:lnTo>
                    <a:lnTo>
                      <a:pt x="139" y="216"/>
                    </a:lnTo>
                    <a:lnTo>
                      <a:pt x="173" y="269"/>
                    </a:lnTo>
                    <a:lnTo>
                      <a:pt x="216" y="216"/>
                    </a:lnTo>
                    <a:lnTo>
                      <a:pt x="270" y="258"/>
                    </a:lnTo>
                    <a:lnTo>
                      <a:pt x="204" y="107"/>
                    </a:lnTo>
                    <a:lnTo>
                      <a:pt x="258" y="119"/>
                    </a:lnTo>
                    <a:lnTo>
                      <a:pt x="216" y="43"/>
                    </a:lnTo>
                    <a:lnTo>
                      <a:pt x="151" y="23"/>
                    </a:lnTo>
                    <a:lnTo>
                      <a:pt x="85" y="0"/>
                    </a:lnTo>
                    <a:lnTo>
                      <a:pt x="23" y="23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49" name="Freeform 33"/>
              <p:cNvSpPr>
                <a:spLocks/>
              </p:cNvSpPr>
              <p:nvPr/>
            </p:nvSpPr>
            <p:spPr bwMode="auto">
              <a:xfrm>
                <a:off x="4320335" y="3957810"/>
                <a:ext cx="196268" cy="174625"/>
              </a:xfrm>
              <a:custGeom>
                <a:avLst/>
                <a:gdLst>
                  <a:gd name="T0" fmla="*/ 0 w 270"/>
                  <a:gd name="T1" fmla="*/ 7850 h 269"/>
                  <a:gd name="T2" fmla="*/ 524 w 270"/>
                  <a:gd name="T3" fmla="*/ 7850 h 269"/>
                  <a:gd name="T4" fmla="*/ 524 w 270"/>
                  <a:gd name="T5" fmla="*/ 7850 h 269"/>
                  <a:gd name="T6" fmla="*/ 524 w 270"/>
                  <a:gd name="T7" fmla="*/ 7850 h 269"/>
                  <a:gd name="T8" fmla="*/ 524 w 270"/>
                  <a:gd name="T9" fmla="*/ 7850 h 269"/>
                  <a:gd name="T10" fmla="*/ 524 w 270"/>
                  <a:gd name="T11" fmla="*/ 7850 h 269"/>
                  <a:gd name="T12" fmla="*/ 524 w 270"/>
                  <a:gd name="T13" fmla="*/ 7850 h 269"/>
                  <a:gd name="T14" fmla="*/ 524 w 270"/>
                  <a:gd name="T15" fmla="*/ 7850 h 269"/>
                  <a:gd name="T16" fmla="*/ 524 w 270"/>
                  <a:gd name="T17" fmla="*/ 7850 h 269"/>
                  <a:gd name="T18" fmla="*/ 524 w 270"/>
                  <a:gd name="T19" fmla="*/ 7850 h 269"/>
                  <a:gd name="T20" fmla="*/ 524 w 270"/>
                  <a:gd name="T21" fmla="*/ 7850 h 269"/>
                  <a:gd name="T22" fmla="*/ 524 w 270"/>
                  <a:gd name="T23" fmla="*/ 7850 h 269"/>
                  <a:gd name="T24" fmla="*/ 524 w 270"/>
                  <a:gd name="T25" fmla="*/ 0 h 269"/>
                  <a:gd name="T26" fmla="*/ 524 w 270"/>
                  <a:gd name="T27" fmla="*/ 7850 h 269"/>
                  <a:gd name="T28" fmla="*/ 0 w 270"/>
                  <a:gd name="T29" fmla="*/ 7850 h 26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70" h="269">
                    <a:moveTo>
                      <a:pt x="0" y="77"/>
                    </a:moveTo>
                    <a:lnTo>
                      <a:pt x="66" y="119"/>
                    </a:lnTo>
                    <a:lnTo>
                      <a:pt x="66" y="184"/>
                    </a:lnTo>
                    <a:lnTo>
                      <a:pt x="85" y="226"/>
                    </a:lnTo>
                    <a:lnTo>
                      <a:pt x="139" y="216"/>
                    </a:lnTo>
                    <a:lnTo>
                      <a:pt x="173" y="269"/>
                    </a:lnTo>
                    <a:lnTo>
                      <a:pt x="216" y="216"/>
                    </a:lnTo>
                    <a:lnTo>
                      <a:pt x="270" y="258"/>
                    </a:lnTo>
                    <a:lnTo>
                      <a:pt x="204" y="107"/>
                    </a:lnTo>
                    <a:lnTo>
                      <a:pt x="258" y="119"/>
                    </a:lnTo>
                    <a:lnTo>
                      <a:pt x="216" y="43"/>
                    </a:lnTo>
                    <a:lnTo>
                      <a:pt x="151" y="23"/>
                    </a:lnTo>
                    <a:lnTo>
                      <a:pt x="85" y="0"/>
                    </a:lnTo>
                    <a:lnTo>
                      <a:pt x="23" y="23"/>
                    </a:lnTo>
                    <a:lnTo>
                      <a:pt x="0" y="77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0" name="Freeform 34"/>
              <p:cNvSpPr>
                <a:spLocks/>
              </p:cNvSpPr>
              <p:nvPr/>
            </p:nvSpPr>
            <p:spPr bwMode="auto">
              <a:xfrm>
                <a:off x="4572679" y="4203873"/>
                <a:ext cx="260971" cy="47625"/>
              </a:xfrm>
              <a:custGeom>
                <a:avLst/>
                <a:gdLst>
                  <a:gd name="T0" fmla="*/ 0 w 354"/>
                  <a:gd name="T1" fmla="*/ 8416 h 73"/>
                  <a:gd name="T2" fmla="*/ 638 w 354"/>
                  <a:gd name="T3" fmla="*/ 8416 h 73"/>
                  <a:gd name="T4" fmla="*/ 638 w 354"/>
                  <a:gd name="T5" fmla="*/ 8416 h 73"/>
                  <a:gd name="T6" fmla="*/ 638 w 354"/>
                  <a:gd name="T7" fmla="*/ 8416 h 73"/>
                  <a:gd name="T8" fmla="*/ 638 w 354"/>
                  <a:gd name="T9" fmla="*/ 8416 h 73"/>
                  <a:gd name="T10" fmla="*/ 638 w 354"/>
                  <a:gd name="T11" fmla="*/ 0 h 73"/>
                  <a:gd name="T12" fmla="*/ 638 w 354"/>
                  <a:gd name="T13" fmla="*/ 8416 h 73"/>
                  <a:gd name="T14" fmla="*/ 638 w 354"/>
                  <a:gd name="T15" fmla="*/ 0 h 73"/>
                  <a:gd name="T16" fmla="*/ 638 w 354"/>
                  <a:gd name="T17" fmla="*/ 8416 h 73"/>
                  <a:gd name="T18" fmla="*/ 638 w 354"/>
                  <a:gd name="T19" fmla="*/ 0 h 73"/>
                  <a:gd name="T20" fmla="*/ 638 w 354"/>
                  <a:gd name="T21" fmla="*/ 8416 h 73"/>
                  <a:gd name="T22" fmla="*/ 638 w 354"/>
                  <a:gd name="T23" fmla="*/ 0 h 73"/>
                  <a:gd name="T24" fmla="*/ 0 w 354"/>
                  <a:gd name="T25" fmla="*/ 0 h 73"/>
                  <a:gd name="T26" fmla="*/ 0 w 354"/>
                  <a:gd name="T27" fmla="*/ 8416 h 7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54" h="73">
                    <a:moveTo>
                      <a:pt x="0" y="65"/>
                    </a:moveTo>
                    <a:lnTo>
                      <a:pt x="64" y="53"/>
                    </a:lnTo>
                    <a:lnTo>
                      <a:pt x="130" y="53"/>
                    </a:lnTo>
                    <a:lnTo>
                      <a:pt x="181" y="73"/>
                    </a:lnTo>
                    <a:lnTo>
                      <a:pt x="354" y="42"/>
                    </a:lnTo>
                    <a:lnTo>
                      <a:pt x="354" y="0"/>
                    </a:lnTo>
                    <a:lnTo>
                      <a:pt x="288" y="30"/>
                    </a:lnTo>
                    <a:lnTo>
                      <a:pt x="288" y="0"/>
                    </a:lnTo>
                    <a:lnTo>
                      <a:pt x="215" y="11"/>
                    </a:lnTo>
                    <a:lnTo>
                      <a:pt x="161" y="0"/>
                    </a:lnTo>
                    <a:lnTo>
                      <a:pt x="96" y="22"/>
                    </a:lnTo>
                    <a:lnTo>
                      <a:pt x="76" y="0"/>
                    </a:lnTo>
                    <a:lnTo>
                      <a:pt x="0" y="0"/>
                    </a:lnTo>
                    <a:lnTo>
                      <a:pt x="0" y="65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1" name="Freeform 35"/>
              <p:cNvSpPr>
                <a:spLocks/>
              </p:cNvSpPr>
              <p:nvPr/>
            </p:nvSpPr>
            <p:spPr bwMode="auto">
              <a:xfrm>
                <a:off x="4572679" y="4203873"/>
                <a:ext cx="260971" cy="47625"/>
              </a:xfrm>
              <a:custGeom>
                <a:avLst/>
                <a:gdLst>
                  <a:gd name="T0" fmla="*/ 0 w 354"/>
                  <a:gd name="T1" fmla="*/ 8416 h 73"/>
                  <a:gd name="T2" fmla="*/ 638 w 354"/>
                  <a:gd name="T3" fmla="*/ 8416 h 73"/>
                  <a:gd name="T4" fmla="*/ 638 w 354"/>
                  <a:gd name="T5" fmla="*/ 8416 h 73"/>
                  <a:gd name="T6" fmla="*/ 638 w 354"/>
                  <a:gd name="T7" fmla="*/ 8416 h 73"/>
                  <a:gd name="T8" fmla="*/ 638 w 354"/>
                  <a:gd name="T9" fmla="*/ 8416 h 73"/>
                  <a:gd name="T10" fmla="*/ 638 w 354"/>
                  <a:gd name="T11" fmla="*/ 0 h 73"/>
                  <a:gd name="T12" fmla="*/ 638 w 354"/>
                  <a:gd name="T13" fmla="*/ 8416 h 73"/>
                  <a:gd name="T14" fmla="*/ 638 w 354"/>
                  <a:gd name="T15" fmla="*/ 0 h 73"/>
                  <a:gd name="T16" fmla="*/ 638 w 354"/>
                  <a:gd name="T17" fmla="*/ 8416 h 73"/>
                  <a:gd name="T18" fmla="*/ 638 w 354"/>
                  <a:gd name="T19" fmla="*/ 0 h 73"/>
                  <a:gd name="T20" fmla="*/ 638 w 354"/>
                  <a:gd name="T21" fmla="*/ 8416 h 73"/>
                  <a:gd name="T22" fmla="*/ 638 w 354"/>
                  <a:gd name="T23" fmla="*/ 0 h 73"/>
                  <a:gd name="T24" fmla="*/ 0 w 354"/>
                  <a:gd name="T25" fmla="*/ 0 h 73"/>
                  <a:gd name="T26" fmla="*/ 0 w 354"/>
                  <a:gd name="T27" fmla="*/ 8416 h 7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54" h="73">
                    <a:moveTo>
                      <a:pt x="0" y="65"/>
                    </a:moveTo>
                    <a:lnTo>
                      <a:pt x="64" y="53"/>
                    </a:lnTo>
                    <a:lnTo>
                      <a:pt x="130" y="53"/>
                    </a:lnTo>
                    <a:lnTo>
                      <a:pt x="181" y="73"/>
                    </a:lnTo>
                    <a:lnTo>
                      <a:pt x="354" y="42"/>
                    </a:lnTo>
                    <a:lnTo>
                      <a:pt x="354" y="0"/>
                    </a:lnTo>
                    <a:lnTo>
                      <a:pt x="288" y="30"/>
                    </a:lnTo>
                    <a:lnTo>
                      <a:pt x="288" y="0"/>
                    </a:lnTo>
                    <a:lnTo>
                      <a:pt x="215" y="11"/>
                    </a:lnTo>
                    <a:lnTo>
                      <a:pt x="161" y="0"/>
                    </a:lnTo>
                    <a:lnTo>
                      <a:pt x="96" y="22"/>
                    </a:lnTo>
                    <a:lnTo>
                      <a:pt x="76" y="0"/>
                    </a:lnTo>
                    <a:lnTo>
                      <a:pt x="0" y="0"/>
                    </a:lnTo>
                    <a:lnTo>
                      <a:pt x="0" y="65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2" name="Freeform 36"/>
              <p:cNvSpPr>
                <a:spLocks/>
              </p:cNvSpPr>
              <p:nvPr/>
            </p:nvSpPr>
            <p:spPr bwMode="auto">
              <a:xfrm>
                <a:off x="2635883" y="3735560"/>
                <a:ext cx="105683" cy="61913"/>
              </a:xfrm>
              <a:custGeom>
                <a:avLst/>
                <a:gdLst>
                  <a:gd name="T0" fmla="*/ 0 w 138"/>
                  <a:gd name="T1" fmla="*/ 7162 h 96"/>
                  <a:gd name="T2" fmla="*/ 1087 w 138"/>
                  <a:gd name="T3" fmla="*/ 7162 h 96"/>
                  <a:gd name="T4" fmla="*/ 1087 w 138"/>
                  <a:gd name="T5" fmla="*/ 7162 h 96"/>
                  <a:gd name="T6" fmla="*/ 1087 w 138"/>
                  <a:gd name="T7" fmla="*/ 7162 h 96"/>
                  <a:gd name="T8" fmla="*/ 1087 w 138"/>
                  <a:gd name="T9" fmla="*/ 0 h 96"/>
                  <a:gd name="T10" fmla="*/ 0 w 138"/>
                  <a:gd name="T11" fmla="*/ 7162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8" h="96">
                    <a:moveTo>
                      <a:pt x="0" y="34"/>
                    </a:moveTo>
                    <a:lnTo>
                      <a:pt x="50" y="54"/>
                    </a:lnTo>
                    <a:lnTo>
                      <a:pt x="96" y="96"/>
                    </a:lnTo>
                    <a:lnTo>
                      <a:pt x="138" y="42"/>
                    </a:lnTo>
                    <a:lnTo>
                      <a:pt x="84" y="0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3" name="Freeform 37"/>
              <p:cNvSpPr>
                <a:spLocks/>
              </p:cNvSpPr>
              <p:nvPr/>
            </p:nvSpPr>
            <p:spPr bwMode="auto">
              <a:xfrm>
                <a:off x="2635883" y="3735560"/>
                <a:ext cx="105683" cy="61913"/>
              </a:xfrm>
              <a:custGeom>
                <a:avLst/>
                <a:gdLst>
                  <a:gd name="T0" fmla="*/ 0 w 138"/>
                  <a:gd name="T1" fmla="*/ 7162 h 96"/>
                  <a:gd name="T2" fmla="*/ 1087 w 138"/>
                  <a:gd name="T3" fmla="*/ 7162 h 96"/>
                  <a:gd name="T4" fmla="*/ 1087 w 138"/>
                  <a:gd name="T5" fmla="*/ 7162 h 96"/>
                  <a:gd name="T6" fmla="*/ 1087 w 138"/>
                  <a:gd name="T7" fmla="*/ 7162 h 96"/>
                  <a:gd name="T8" fmla="*/ 1087 w 138"/>
                  <a:gd name="T9" fmla="*/ 0 h 96"/>
                  <a:gd name="T10" fmla="*/ 0 w 138"/>
                  <a:gd name="T11" fmla="*/ 7162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38" h="96">
                    <a:moveTo>
                      <a:pt x="0" y="34"/>
                    </a:moveTo>
                    <a:lnTo>
                      <a:pt x="50" y="54"/>
                    </a:lnTo>
                    <a:lnTo>
                      <a:pt x="96" y="96"/>
                    </a:lnTo>
                    <a:lnTo>
                      <a:pt x="138" y="42"/>
                    </a:lnTo>
                    <a:lnTo>
                      <a:pt x="84" y="0"/>
                    </a:lnTo>
                    <a:lnTo>
                      <a:pt x="0" y="34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4" name="Freeform 38"/>
              <p:cNvSpPr>
                <a:spLocks/>
              </p:cNvSpPr>
              <p:nvPr/>
            </p:nvSpPr>
            <p:spPr bwMode="auto">
              <a:xfrm>
                <a:off x="2057863" y="2100435"/>
                <a:ext cx="340773" cy="315913"/>
              </a:xfrm>
              <a:custGeom>
                <a:avLst/>
                <a:gdLst>
                  <a:gd name="T0" fmla="*/ 663 w 461"/>
                  <a:gd name="T1" fmla="*/ 8979 h 482"/>
                  <a:gd name="T2" fmla="*/ 663 w 461"/>
                  <a:gd name="T3" fmla="*/ 8979 h 482"/>
                  <a:gd name="T4" fmla="*/ 663 w 461"/>
                  <a:gd name="T5" fmla="*/ 8979 h 482"/>
                  <a:gd name="T6" fmla="*/ 663 w 461"/>
                  <a:gd name="T7" fmla="*/ 8979 h 482"/>
                  <a:gd name="T8" fmla="*/ 663 w 461"/>
                  <a:gd name="T9" fmla="*/ 8979 h 482"/>
                  <a:gd name="T10" fmla="*/ 663 w 461"/>
                  <a:gd name="T11" fmla="*/ 8979 h 482"/>
                  <a:gd name="T12" fmla="*/ 663 w 461"/>
                  <a:gd name="T13" fmla="*/ 8979 h 482"/>
                  <a:gd name="T14" fmla="*/ 663 w 461"/>
                  <a:gd name="T15" fmla="*/ 8979 h 482"/>
                  <a:gd name="T16" fmla="*/ 663 w 461"/>
                  <a:gd name="T17" fmla="*/ 8979 h 482"/>
                  <a:gd name="T18" fmla="*/ 663 w 461"/>
                  <a:gd name="T19" fmla="*/ 0 h 482"/>
                  <a:gd name="T20" fmla="*/ 663 w 461"/>
                  <a:gd name="T21" fmla="*/ 8979 h 482"/>
                  <a:gd name="T22" fmla="*/ 663 w 461"/>
                  <a:gd name="T23" fmla="*/ 8979 h 482"/>
                  <a:gd name="T24" fmla="*/ 663 w 461"/>
                  <a:gd name="T25" fmla="*/ 8979 h 482"/>
                  <a:gd name="T26" fmla="*/ 663 w 461"/>
                  <a:gd name="T27" fmla="*/ 8979 h 482"/>
                  <a:gd name="T28" fmla="*/ 663 w 461"/>
                  <a:gd name="T29" fmla="*/ 8979 h 482"/>
                  <a:gd name="T30" fmla="*/ 663 w 461"/>
                  <a:gd name="T31" fmla="*/ 8979 h 482"/>
                  <a:gd name="T32" fmla="*/ 663 w 461"/>
                  <a:gd name="T33" fmla="*/ 8979 h 482"/>
                  <a:gd name="T34" fmla="*/ 663 w 461"/>
                  <a:gd name="T35" fmla="*/ 8979 h 482"/>
                  <a:gd name="T36" fmla="*/ 663 w 461"/>
                  <a:gd name="T37" fmla="*/ 8979 h 482"/>
                  <a:gd name="T38" fmla="*/ 663 w 461"/>
                  <a:gd name="T39" fmla="*/ 8979 h 482"/>
                  <a:gd name="T40" fmla="*/ 663 w 461"/>
                  <a:gd name="T41" fmla="*/ 8979 h 482"/>
                  <a:gd name="T42" fmla="*/ 0 w 461"/>
                  <a:gd name="T43" fmla="*/ 8979 h 482"/>
                  <a:gd name="T44" fmla="*/ 0 w 461"/>
                  <a:gd name="T45" fmla="*/ 8979 h 482"/>
                  <a:gd name="T46" fmla="*/ 663 w 461"/>
                  <a:gd name="T47" fmla="*/ 8979 h 482"/>
                  <a:gd name="T48" fmla="*/ 663 w 461"/>
                  <a:gd name="T49" fmla="*/ 8979 h 482"/>
                  <a:gd name="T50" fmla="*/ 663 w 461"/>
                  <a:gd name="T51" fmla="*/ 8979 h 482"/>
                  <a:gd name="T52" fmla="*/ 663 w 461"/>
                  <a:gd name="T53" fmla="*/ 8979 h 482"/>
                  <a:gd name="T54" fmla="*/ 663 w 461"/>
                  <a:gd name="T55" fmla="*/ 8979 h 482"/>
                  <a:gd name="T56" fmla="*/ 663 w 461"/>
                  <a:gd name="T57" fmla="*/ 8979 h 482"/>
                  <a:gd name="T58" fmla="*/ 663 w 461"/>
                  <a:gd name="T59" fmla="*/ 8979 h 482"/>
                  <a:gd name="T60" fmla="*/ 663 w 461"/>
                  <a:gd name="T61" fmla="*/ 8979 h 48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461" h="482">
                    <a:moveTo>
                      <a:pt x="461" y="214"/>
                    </a:moveTo>
                    <a:lnTo>
                      <a:pt x="461" y="203"/>
                    </a:lnTo>
                    <a:lnTo>
                      <a:pt x="461" y="149"/>
                    </a:lnTo>
                    <a:lnTo>
                      <a:pt x="431" y="141"/>
                    </a:lnTo>
                    <a:lnTo>
                      <a:pt x="397" y="141"/>
                    </a:lnTo>
                    <a:lnTo>
                      <a:pt x="365" y="161"/>
                    </a:lnTo>
                    <a:lnTo>
                      <a:pt x="342" y="119"/>
                    </a:lnTo>
                    <a:lnTo>
                      <a:pt x="334" y="87"/>
                    </a:lnTo>
                    <a:lnTo>
                      <a:pt x="397" y="33"/>
                    </a:lnTo>
                    <a:lnTo>
                      <a:pt x="334" y="0"/>
                    </a:lnTo>
                    <a:lnTo>
                      <a:pt x="280" y="45"/>
                    </a:lnTo>
                    <a:lnTo>
                      <a:pt x="312" y="87"/>
                    </a:lnTo>
                    <a:lnTo>
                      <a:pt x="270" y="107"/>
                    </a:lnTo>
                    <a:lnTo>
                      <a:pt x="161" y="75"/>
                    </a:lnTo>
                    <a:lnTo>
                      <a:pt x="131" y="107"/>
                    </a:lnTo>
                    <a:lnTo>
                      <a:pt x="161" y="149"/>
                    </a:lnTo>
                    <a:lnTo>
                      <a:pt x="108" y="172"/>
                    </a:lnTo>
                    <a:lnTo>
                      <a:pt x="131" y="236"/>
                    </a:lnTo>
                    <a:lnTo>
                      <a:pt x="173" y="248"/>
                    </a:lnTo>
                    <a:lnTo>
                      <a:pt x="108" y="298"/>
                    </a:lnTo>
                    <a:lnTo>
                      <a:pt x="54" y="365"/>
                    </a:lnTo>
                    <a:lnTo>
                      <a:pt x="0" y="353"/>
                    </a:lnTo>
                    <a:lnTo>
                      <a:pt x="0" y="417"/>
                    </a:lnTo>
                    <a:lnTo>
                      <a:pt x="35" y="472"/>
                    </a:lnTo>
                    <a:lnTo>
                      <a:pt x="119" y="482"/>
                    </a:lnTo>
                    <a:lnTo>
                      <a:pt x="193" y="482"/>
                    </a:lnTo>
                    <a:lnTo>
                      <a:pt x="270" y="460"/>
                    </a:lnTo>
                    <a:lnTo>
                      <a:pt x="354" y="472"/>
                    </a:lnTo>
                    <a:lnTo>
                      <a:pt x="431" y="353"/>
                    </a:lnTo>
                    <a:lnTo>
                      <a:pt x="441" y="291"/>
                    </a:lnTo>
                    <a:lnTo>
                      <a:pt x="461" y="214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5" name="Freeform 39"/>
              <p:cNvSpPr>
                <a:spLocks/>
              </p:cNvSpPr>
              <p:nvPr/>
            </p:nvSpPr>
            <p:spPr bwMode="auto">
              <a:xfrm>
                <a:off x="2901168" y="2619548"/>
                <a:ext cx="232933" cy="203200"/>
              </a:xfrm>
              <a:custGeom>
                <a:avLst/>
                <a:gdLst>
                  <a:gd name="T0" fmla="*/ 833 w 310"/>
                  <a:gd name="T1" fmla="*/ 9844 h 308"/>
                  <a:gd name="T2" fmla="*/ 833 w 310"/>
                  <a:gd name="T3" fmla="*/ 9844 h 308"/>
                  <a:gd name="T4" fmla="*/ 833 w 310"/>
                  <a:gd name="T5" fmla="*/ 9844 h 308"/>
                  <a:gd name="T6" fmla="*/ 833 w 310"/>
                  <a:gd name="T7" fmla="*/ 9844 h 308"/>
                  <a:gd name="T8" fmla="*/ 833 w 310"/>
                  <a:gd name="T9" fmla="*/ 9844 h 308"/>
                  <a:gd name="T10" fmla="*/ 833 w 310"/>
                  <a:gd name="T11" fmla="*/ 9844 h 308"/>
                  <a:gd name="T12" fmla="*/ 833 w 310"/>
                  <a:gd name="T13" fmla="*/ 9844 h 308"/>
                  <a:gd name="T14" fmla="*/ 833 w 310"/>
                  <a:gd name="T15" fmla="*/ 9844 h 308"/>
                  <a:gd name="T16" fmla="*/ 833 w 310"/>
                  <a:gd name="T17" fmla="*/ 9844 h 308"/>
                  <a:gd name="T18" fmla="*/ 833 w 310"/>
                  <a:gd name="T19" fmla="*/ 9844 h 308"/>
                  <a:gd name="T20" fmla="*/ 833 w 310"/>
                  <a:gd name="T21" fmla="*/ 9844 h 308"/>
                  <a:gd name="T22" fmla="*/ 833 w 310"/>
                  <a:gd name="T23" fmla="*/ 9844 h 308"/>
                  <a:gd name="T24" fmla="*/ 833 w 310"/>
                  <a:gd name="T25" fmla="*/ 9844 h 308"/>
                  <a:gd name="T26" fmla="*/ 833 w 310"/>
                  <a:gd name="T27" fmla="*/ 9844 h 308"/>
                  <a:gd name="T28" fmla="*/ 833 w 310"/>
                  <a:gd name="T29" fmla="*/ 9844 h 308"/>
                  <a:gd name="T30" fmla="*/ 833 w 310"/>
                  <a:gd name="T31" fmla="*/ 9844 h 308"/>
                  <a:gd name="T32" fmla="*/ 833 w 310"/>
                  <a:gd name="T33" fmla="*/ 9844 h 308"/>
                  <a:gd name="T34" fmla="*/ 833 w 310"/>
                  <a:gd name="T35" fmla="*/ 9844 h 308"/>
                  <a:gd name="T36" fmla="*/ 833 w 310"/>
                  <a:gd name="T37" fmla="*/ 9844 h 308"/>
                  <a:gd name="T38" fmla="*/ 0 w 310"/>
                  <a:gd name="T39" fmla="*/ 9844 h 308"/>
                  <a:gd name="T40" fmla="*/ 833 w 310"/>
                  <a:gd name="T41" fmla="*/ 9844 h 308"/>
                  <a:gd name="T42" fmla="*/ 833 w 310"/>
                  <a:gd name="T43" fmla="*/ 9844 h 308"/>
                  <a:gd name="T44" fmla="*/ 833 w 310"/>
                  <a:gd name="T45" fmla="*/ 0 h 308"/>
                  <a:gd name="T46" fmla="*/ 833 w 310"/>
                  <a:gd name="T47" fmla="*/ 9844 h 308"/>
                  <a:gd name="T48" fmla="*/ 833 w 310"/>
                  <a:gd name="T49" fmla="*/ 9844 h 308"/>
                  <a:gd name="T50" fmla="*/ 833 w 310"/>
                  <a:gd name="T51" fmla="*/ 9844 h 30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310" h="308">
                    <a:moveTo>
                      <a:pt x="226" y="30"/>
                    </a:moveTo>
                    <a:lnTo>
                      <a:pt x="248" y="53"/>
                    </a:lnTo>
                    <a:lnTo>
                      <a:pt x="268" y="62"/>
                    </a:lnTo>
                    <a:lnTo>
                      <a:pt x="268" y="115"/>
                    </a:lnTo>
                    <a:lnTo>
                      <a:pt x="300" y="138"/>
                    </a:lnTo>
                    <a:lnTo>
                      <a:pt x="310" y="180"/>
                    </a:lnTo>
                    <a:lnTo>
                      <a:pt x="288" y="223"/>
                    </a:lnTo>
                    <a:lnTo>
                      <a:pt x="280" y="223"/>
                    </a:lnTo>
                    <a:lnTo>
                      <a:pt x="248" y="254"/>
                    </a:lnTo>
                    <a:lnTo>
                      <a:pt x="248" y="308"/>
                    </a:lnTo>
                    <a:lnTo>
                      <a:pt x="214" y="296"/>
                    </a:lnTo>
                    <a:lnTo>
                      <a:pt x="183" y="266"/>
                    </a:lnTo>
                    <a:lnTo>
                      <a:pt x="191" y="254"/>
                    </a:lnTo>
                    <a:lnTo>
                      <a:pt x="183" y="212"/>
                    </a:lnTo>
                    <a:lnTo>
                      <a:pt x="149" y="234"/>
                    </a:lnTo>
                    <a:lnTo>
                      <a:pt x="119" y="223"/>
                    </a:lnTo>
                    <a:lnTo>
                      <a:pt x="107" y="169"/>
                    </a:lnTo>
                    <a:lnTo>
                      <a:pt x="64" y="138"/>
                    </a:lnTo>
                    <a:lnTo>
                      <a:pt x="45" y="95"/>
                    </a:lnTo>
                    <a:lnTo>
                      <a:pt x="0" y="85"/>
                    </a:lnTo>
                    <a:lnTo>
                      <a:pt x="10" y="42"/>
                    </a:lnTo>
                    <a:lnTo>
                      <a:pt x="10" y="30"/>
                    </a:lnTo>
                    <a:lnTo>
                      <a:pt x="87" y="0"/>
                    </a:lnTo>
                    <a:lnTo>
                      <a:pt x="107" y="30"/>
                    </a:lnTo>
                    <a:lnTo>
                      <a:pt x="191" y="8"/>
                    </a:lnTo>
                    <a:lnTo>
                      <a:pt x="226" y="3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6" name="Freeform 40"/>
              <p:cNvSpPr>
                <a:spLocks/>
              </p:cNvSpPr>
              <p:nvPr/>
            </p:nvSpPr>
            <p:spPr bwMode="auto">
              <a:xfrm>
                <a:off x="2968028" y="2443335"/>
                <a:ext cx="265285" cy="266700"/>
              </a:xfrm>
              <a:custGeom>
                <a:avLst/>
                <a:gdLst>
                  <a:gd name="T0" fmla="*/ 587 w 362"/>
                  <a:gd name="T1" fmla="*/ 8650 h 408"/>
                  <a:gd name="T2" fmla="*/ 587 w 362"/>
                  <a:gd name="T3" fmla="*/ 8650 h 408"/>
                  <a:gd name="T4" fmla="*/ 587 w 362"/>
                  <a:gd name="T5" fmla="*/ 8650 h 408"/>
                  <a:gd name="T6" fmla="*/ 587 w 362"/>
                  <a:gd name="T7" fmla="*/ 8650 h 408"/>
                  <a:gd name="T8" fmla="*/ 587 w 362"/>
                  <a:gd name="T9" fmla="*/ 8650 h 408"/>
                  <a:gd name="T10" fmla="*/ 587 w 362"/>
                  <a:gd name="T11" fmla="*/ 8650 h 408"/>
                  <a:gd name="T12" fmla="*/ 587 w 362"/>
                  <a:gd name="T13" fmla="*/ 8650 h 408"/>
                  <a:gd name="T14" fmla="*/ 587 w 362"/>
                  <a:gd name="T15" fmla="*/ 8650 h 408"/>
                  <a:gd name="T16" fmla="*/ 587 w 362"/>
                  <a:gd name="T17" fmla="*/ 8650 h 408"/>
                  <a:gd name="T18" fmla="*/ 587 w 362"/>
                  <a:gd name="T19" fmla="*/ 8650 h 408"/>
                  <a:gd name="T20" fmla="*/ 587 w 362"/>
                  <a:gd name="T21" fmla="*/ 8650 h 408"/>
                  <a:gd name="T22" fmla="*/ 587 w 362"/>
                  <a:gd name="T23" fmla="*/ 8650 h 408"/>
                  <a:gd name="T24" fmla="*/ 587 w 362"/>
                  <a:gd name="T25" fmla="*/ 8650 h 408"/>
                  <a:gd name="T26" fmla="*/ 587 w 362"/>
                  <a:gd name="T27" fmla="*/ 8650 h 408"/>
                  <a:gd name="T28" fmla="*/ 587 w 362"/>
                  <a:gd name="T29" fmla="*/ 8650 h 408"/>
                  <a:gd name="T30" fmla="*/ 587 w 362"/>
                  <a:gd name="T31" fmla="*/ 8650 h 408"/>
                  <a:gd name="T32" fmla="*/ 0 w 362"/>
                  <a:gd name="T33" fmla="*/ 8650 h 408"/>
                  <a:gd name="T34" fmla="*/ 587 w 362"/>
                  <a:gd name="T35" fmla="*/ 8650 h 408"/>
                  <a:gd name="T36" fmla="*/ 587 w 362"/>
                  <a:gd name="T37" fmla="*/ 8650 h 408"/>
                  <a:gd name="T38" fmla="*/ 587 w 362"/>
                  <a:gd name="T39" fmla="*/ 8650 h 408"/>
                  <a:gd name="T40" fmla="*/ 587 w 362"/>
                  <a:gd name="T41" fmla="*/ 8650 h 408"/>
                  <a:gd name="T42" fmla="*/ 587 w 362"/>
                  <a:gd name="T43" fmla="*/ 8650 h 408"/>
                  <a:gd name="T44" fmla="*/ 587 w 362"/>
                  <a:gd name="T45" fmla="*/ 8650 h 408"/>
                  <a:gd name="T46" fmla="*/ 587 w 362"/>
                  <a:gd name="T47" fmla="*/ 8650 h 408"/>
                  <a:gd name="T48" fmla="*/ 587 w 362"/>
                  <a:gd name="T49" fmla="*/ 8650 h 408"/>
                  <a:gd name="T50" fmla="*/ 587 w 362"/>
                  <a:gd name="T51" fmla="*/ 8650 h 408"/>
                  <a:gd name="T52" fmla="*/ 587 w 362"/>
                  <a:gd name="T53" fmla="*/ 8650 h 408"/>
                  <a:gd name="T54" fmla="*/ 587 w 362"/>
                  <a:gd name="T55" fmla="*/ 8650 h 408"/>
                  <a:gd name="T56" fmla="*/ 587 w 362"/>
                  <a:gd name="T57" fmla="*/ 0 h 408"/>
                  <a:gd name="T58" fmla="*/ 587 w 362"/>
                  <a:gd name="T59" fmla="*/ 8650 h 408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362" h="408">
                    <a:moveTo>
                      <a:pt x="362" y="44"/>
                    </a:moveTo>
                    <a:lnTo>
                      <a:pt x="330" y="119"/>
                    </a:lnTo>
                    <a:lnTo>
                      <a:pt x="308" y="139"/>
                    </a:lnTo>
                    <a:lnTo>
                      <a:pt x="330" y="182"/>
                    </a:lnTo>
                    <a:lnTo>
                      <a:pt x="300" y="204"/>
                    </a:lnTo>
                    <a:lnTo>
                      <a:pt x="265" y="246"/>
                    </a:lnTo>
                    <a:lnTo>
                      <a:pt x="235" y="246"/>
                    </a:lnTo>
                    <a:lnTo>
                      <a:pt x="223" y="312"/>
                    </a:lnTo>
                    <a:lnTo>
                      <a:pt x="213" y="355"/>
                    </a:lnTo>
                    <a:lnTo>
                      <a:pt x="213" y="408"/>
                    </a:lnTo>
                    <a:lnTo>
                      <a:pt x="181" y="385"/>
                    </a:lnTo>
                    <a:lnTo>
                      <a:pt x="181" y="332"/>
                    </a:lnTo>
                    <a:lnTo>
                      <a:pt x="161" y="323"/>
                    </a:lnTo>
                    <a:lnTo>
                      <a:pt x="139" y="300"/>
                    </a:lnTo>
                    <a:lnTo>
                      <a:pt x="104" y="278"/>
                    </a:lnTo>
                    <a:lnTo>
                      <a:pt x="20" y="300"/>
                    </a:lnTo>
                    <a:lnTo>
                      <a:pt x="0" y="270"/>
                    </a:lnTo>
                    <a:lnTo>
                      <a:pt x="42" y="224"/>
                    </a:lnTo>
                    <a:lnTo>
                      <a:pt x="84" y="182"/>
                    </a:lnTo>
                    <a:lnTo>
                      <a:pt x="116" y="139"/>
                    </a:lnTo>
                    <a:lnTo>
                      <a:pt x="139" y="74"/>
                    </a:lnTo>
                    <a:lnTo>
                      <a:pt x="169" y="67"/>
                    </a:lnTo>
                    <a:lnTo>
                      <a:pt x="161" y="139"/>
                    </a:lnTo>
                    <a:lnTo>
                      <a:pt x="193" y="174"/>
                    </a:lnTo>
                    <a:lnTo>
                      <a:pt x="235" y="139"/>
                    </a:lnTo>
                    <a:lnTo>
                      <a:pt x="246" y="109"/>
                    </a:lnTo>
                    <a:lnTo>
                      <a:pt x="213" y="86"/>
                    </a:lnTo>
                    <a:lnTo>
                      <a:pt x="213" y="24"/>
                    </a:lnTo>
                    <a:lnTo>
                      <a:pt x="277" y="0"/>
                    </a:lnTo>
                    <a:lnTo>
                      <a:pt x="362" y="44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7" name="Freeform 41"/>
              <p:cNvSpPr>
                <a:spLocks/>
              </p:cNvSpPr>
              <p:nvPr/>
            </p:nvSpPr>
            <p:spPr bwMode="auto">
              <a:xfrm>
                <a:off x="3088808" y="2764010"/>
                <a:ext cx="32352" cy="63500"/>
              </a:xfrm>
              <a:custGeom>
                <a:avLst/>
                <a:gdLst>
                  <a:gd name="T0" fmla="*/ 59 w 52"/>
                  <a:gd name="T1" fmla="*/ 10209 h 96"/>
                  <a:gd name="T2" fmla="*/ 59 w 52"/>
                  <a:gd name="T3" fmla="*/ 10209 h 96"/>
                  <a:gd name="T4" fmla="*/ 59 w 52"/>
                  <a:gd name="T5" fmla="*/ 0 h 96"/>
                  <a:gd name="T6" fmla="*/ 59 w 52"/>
                  <a:gd name="T7" fmla="*/ 0 h 96"/>
                  <a:gd name="T8" fmla="*/ 0 w 52"/>
                  <a:gd name="T9" fmla="*/ 10209 h 96"/>
                  <a:gd name="T10" fmla="*/ 0 w 52"/>
                  <a:gd name="T11" fmla="*/ 10209 h 96"/>
                  <a:gd name="T12" fmla="*/ 59 w 52"/>
                  <a:gd name="T13" fmla="*/ 10209 h 96"/>
                  <a:gd name="T14" fmla="*/ 59 w 52"/>
                  <a:gd name="T15" fmla="*/ 10209 h 9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52" h="96">
                    <a:moveTo>
                      <a:pt x="52" y="96"/>
                    </a:moveTo>
                    <a:lnTo>
                      <a:pt x="52" y="53"/>
                    </a:lnTo>
                    <a:lnTo>
                      <a:pt x="40" y="0"/>
                    </a:lnTo>
                    <a:lnTo>
                      <a:pt x="32" y="0"/>
                    </a:lnTo>
                    <a:lnTo>
                      <a:pt x="0" y="31"/>
                    </a:lnTo>
                    <a:lnTo>
                      <a:pt x="0" y="85"/>
                    </a:lnTo>
                    <a:lnTo>
                      <a:pt x="32" y="96"/>
                    </a:lnTo>
                    <a:lnTo>
                      <a:pt x="52" y="96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8" name="Freeform 42"/>
              <p:cNvSpPr>
                <a:spLocks/>
              </p:cNvSpPr>
              <p:nvPr/>
            </p:nvSpPr>
            <p:spPr bwMode="auto">
              <a:xfrm>
                <a:off x="3062927" y="3024360"/>
                <a:ext cx="338616" cy="174625"/>
              </a:xfrm>
              <a:custGeom>
                <a:avLst/>
                <a:gdLst>
                  <a:gd name="T0" fmla="*/ 606 w 461"/>
                  <a:gd name="T1" fmla="*/ 8271 h 268"/>
                  <a:gd name="T2" fmla="*/ 606 w 461"/>
                  <a:gd name="T3" fmla="*/ 8271 h 268"/>
                  <a:gd name="T4" fmla="*/ 606 w 461"/>
                  <a:gd name="T5" fmla="*/ 8271 h 268"/>
                  <a:gd name="T6" fmla="*/ 606 w 461"/>
                  <a:gd name="T7" fmla="*/ 8271 h 268"/>
                  <a:gd name="T8" fmla="*/ 606 w 461"/>
                  <a:gd name="T9" fmla="*/ 8271 h 268"/>
                  <a:gd name="T10" fmla="*/ 0 w 461"/>
                  <a:gd name="T11" fmla="*/ 8271 h 268"/>
                  <a:gd name="T12" fmla="*/ 606 w 461"/>
                  <a:gd name="T13" fmla="*/ 8271 h 268"/>
                  <a:gd name="T14" fmla="*/ 606 w 461"/>
                  <a:gd name="T15" fmla="*/ 8271 h 268"/>
                  <a:gd name="T16" fmla="*/ 606 w 461"/>
                  <a:gd name="T17" fmla="*/ 8271 h 268"/>
                  <a:gd name="T18" fmla="*/ 606 w 461"/>
                  <a:gd name="T19" fmla="*/ 8271 h 268"/>
                  <a:gd name="T20" fmla="*/ 606 w 461"/>
                  <a:gd name="T21" fmla="*/ 0 h 268"/>
                  <a:gd name="T22" fmla="*/ 606 w 461"/>
                  <a:gd name="T23" fmla="*/ 8271 h 268"/>
                  <a:gd name="T24" fmla="*/ 606 w 461"/>
                  <a:gd name="T25" fmla="*/ 8271 h 268"/>
                  <a:gd name="T26" fmla="*/ 606 w 461"/>
                  <a:gd name="T27" fmla="*/ 8271 h 268"/>
                  <a:gd name="T28" fmla="*/ 606 w 461"/>
                  <a:gd name="T29" fmla="*/ 8271 h 268"/>
                  <a:gd name="T30" fmla="*/ 606 w 461"/>
                  <a:gd name="T31" fmla="*/ 8271 h 268"/>
                  <a:gd name="T32" fmla="*/ 606 w 461"/>
                  <a:gd name="T33" fmla="*/ 8271 h 268"/>
                  <a:gd name="T34" fmla="*/ 606 w 461"/>
                  <a:gd name="T35" fmla="*/ 8271 h 268"/>
                  <a:gd name="T36" fmla="*/ 606 w 461"/>
                  <a:gd name="T37" fmla="*/ 8271 h 268"/>
                  <a:gd name="T38" fmla="*/ 606 w 461"/>
                  <a:gd name="T39" fmla="*/ 8271 h 268"/>
                  <a:gd name="T40" fmla="*/ 606 w 461"/>
                  <a:gd name="T41" fmla="*/ 8271 h 268"/>
                  <a:gd name="T42" fmla="*/ 606 w 461"/>
                  <a:gd name="T43" fmla="*/ 8271 h 268"/>
                  <a:gd name="T44" fmla="*/ 606 w 461"/>
                  <a:gd name="T45" fmla="*/ 8271 h 268"/>
                  <a:gd name="T46" fmla="*/ 606 w 461"/>
                  <a:gd name="T47" fmla="*/ 8271 h 268"/>
                  <a:gd name="T48" fmla="*/ 606 w 461"/>
                  <a:gd name="T49" fmla="*/ 8271 h 268"/>
                  <a:gd name="T50" fmla="*/ 606 w 461"/>
                  <a:gd name="T51" fmla="*/ 8271 h 268"/>
                  <a:gd name="T52" fmla="*/ 606 w 461"/>
                  <a:gd name="T53" fmla="*/ 8271 h 268"/>
                  <a:gd name="T54" fmla="*/ 606 w 461"/>
                  <a:gd name="T55" fmla="*/ 8271 h 268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461" h="268">
                    <a:moveTo>
                      <a:pt x="96" y="257"/>
                    </a:moveTo>
                    <a:lnTo>
                      <a:pt x="74" y="226"/>
                    </a:lnTo>
                    <a:lnTo>
                      <a:pt x="74" y="171"/>
                    </a:lnTo>
                    <a:lnTo>
                      <a:pt x="42" y="171"/>
                    </a:lnTo>
                    <a:lnTo>
                      <a:pt x="12" y="203"/>
                    </a:lnTo>
                    <a:lnTo>
                      <a:pt x="0" y="161"/>
                    </a:lnTo>
                    <a:lnTo>
                      <a:pt x="54" y="96"/>
                    </a:lnTo>
                    <a:lnTo>
                      <a:pt x="96" y="42"/>
                    </a:lnTo>
                    <a:lnTo>
                      <a:pt x="119" y="10"/>
                    </a:lnTo>
                    <a:lnTo>
                      <a:pt x="150" y="22"/>
                    </a:lnTo>
                    <a:lnTo>
                      <a:pt x="181" y="0"/>
                    </a:lnTo>
                    <a:lnTo>
                      <a:pt x="235" y="10"/>
                    </a:lnTo>
                    <a:lnTo>
                      <a:pt x="322" y="10"/>
                    </a:lnTo>
                    <a:lnTo>
                      <a:pt x="376" y="42"/>
                    </a:lnTo>
                    <a:lnTo>
                      <a:pt x="376" y="96"/>
                    </a:lnTo>
                    <a:lnTo>
                      <a:pt x="384" y="119"/>
                    </a:lnTo>
                    <a:lnTo>
                      <a:pt x="438" y="138"/>
                    </a:lnTo>
                    <a:lnTo>
                      <a:pt x="461" y="138"/>
                    </a:lnTo>
                    <a:lnTo>
                      <a:pt x="426" y="181"/>
                    </a:lnTo>
                    <a:lnTo>
                      <a:pt x="426" y="226"/>
                    </a:lnTo>
                    <a:lnTo>
                      <a:pt x="354" y="203"/>
                    </a:lnTo>
                    <a:lnTo>
                      <a:pt x="331" y="226"/>
                    </a:lnTo>
                    <a:lnTo>
                      <a:pt x="311" y="268"/>
                    </a:lnTo>
                    <a:lnTo>
                      <a:pt x="277" y="245"/>
                    </a:lnTo>
                    <a:lnTo>
                      <a:pt x="257" y="203"/>
                    </a:lnTo>
                    <a:lnTo>
                      <a:pt x="215" y="214"/>
                    </a:lnTo>
                    <a:lnTo>
                      <a:pt x="193" y="257"/>
                    </a:lnTo>
                    <a:lnTo>
                      <a:pt x="96" y="257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59" name="Freeform 43"/>
              <p:cNvSpPr>
                <a:spLocks/>
              </p:cNvSpPr>
              <p:nvPr/>
            </p:nvSpPr>
            <p:spPr bwMode="auto">
              <a:xfrm>
                <a:off x="3341153" y="3049760"/>
                <a:ext cx="23725" cy="50800"/>
              </a:xfrm>
              <a:custGeom>
                <a:avLst/>
                <a:gdLst>
                  <a:gd name="T0" fmla="*/ 1077 w 31"/>
                  <a:gd name="T1" fmla="*/ 9844 h 77"/>
                  <a:gd name="T2" fmla="*/ 1077 w 31"/>
                  <a:gd name="T3" fmla="*/ 9844 h 77"/>
                  <a:gd name="T4" fmla="*/ 0 w 31"/>
                  <a:gd name="T5" fmla="*/ 0 h 77"/>
                  <a:gd name="T6" fmla="*/ 0 w 31"/>
                  <a:gd name="T7" fmla="*/ 9844 h 77"/>
                  <a:gd name="T8" fmla="*/ 1077 w 31"/>
                  <a:gd name="T9" fmla="*/ 9844 h 7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1" h="77">
                    <a:moveTo>
                      <a:pt x="8" y="77"/>
                    </a:moveTo>
                    <a:lnTo>
                      <a:pt x="31" y="42"/>
                    </a:lnTo>
                    <a:lnTo>
                      <a:pt x="0" y="0"/>
                    </a:lnTo>
                    <a:lnTo>
                      <a:pt x="0" y="54"/>
                    </a:lnTo>
                    <a:lnTo>
                      <a:pt x="8" y="77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0" name="Freeform 44"/>
              <p:cNvSpPr>
                <a:spLocks/>
              </p:cNvSpPr>
              <p:nvPr/>
            </p:nvSpPr>
            <p:spPr bwMode="auto">
              <a:xfrm>
                <a:off x="3703493" y="2330623"/>
                <a:ext cx="694486" cy="550863"/>
              </a:xfrm>
              <a:custGeom>
                <a:avLst/>
                <a:gdLst>
                  <a:gd name="T0" fmla="*/ 639 w 942"/>
                  <a:gd name="T1" fmla="*/ 8467 h 844"/>
                  <a:gd name="T2" fmla="*/ 639 w 942"/>
                  <a:gd name="T3" fmla="*/ 8467 h 844"/>
                  <a:gd name="T4" fmla="*/ 639 w 942"/>
                  <a:gd name="T5" fmla="*/ 8467 h 844"/>
                  <a:gd name="T6" fmla="*/ 639 w 942"/>
                  <a:gd name="T7" fmla="*/ 8467 h 844"/>
                  <a:gd name="T8" fmla="*/ 639 w 942"/>
                  <a:gd name="T9" fmla="*/ 8467 h 844"/>
                  <a:gd name="T10" fmla="*/ 639 w 942"/>
                  <a:gd name="T11" fmla="*/ 8467 h 844"/>
                  <a:gd name="T12" fmla="*/ 639 w 942"/>
                  <a:gd name="T13" fmla="*/ 8467 h 844"/>
                  <a:gd name="T14" fmla="*/ 639 w 942"/>
                  <a:gd name="T15" fmla="*/ 8467 h 844"/>
                  <a:gd name="T16" fmla="*/ 639 w 942"/>
                  <a:gd name="T17" fmla="*/ 8467 h 844"/>
                  <a:gd name="T18" fmla="*/ 639 w 942"/>
                  <a:gd name="T19" fmla="*/ 8467 h 844"/>
                  <a:gd name="T20" fmla="*/ 639 w 942"/>
                  <a:gd name="T21" fmla="*/ 8467 h 844"/>
                  <a:gd name="T22" fmla="*/ 639 w 942"/>
                  <a:gd name="T23" fmla="*/ 8467 h 844"/>
                  <a:gd name="T24" fmla="*/ 639 w 942"/>
                  <a:gd name="T25" fmla="*/ 8467 h 844"/>
                  <a:gd name="T26" fmla="*/ 639 w 942"/>
                  <a:gd name="T27" fmla="*/ 8467 h 844"/>
                  <a:gd name="T28" fmla="*/ 639 w 942"/>
                  <a:gd name="T29" fmla="*/ 8467 h 844"/>
                  <a:gd name="T30" fmla="*/ 639 w 942"/>
                  <a:gd name="T31" fmla="*/ 0 h 844"/>
                  <a:gd name="T32" fmla="*/ 639 w 942"/>
                  <a:gd name="T33" fmla="*/ 8467 h 844"/>
                  <a:gd name="T34" fmla="*/ 639 w 942"/>
                  <a:gd name="T35" fmla="*/ 8467 h 844"/>
                  <a:gd name="T36" fmla="*/ 639 w 942"/>
                  <a:gd name="T37" fmla="*/ 8467 h 844"/>
                  <a:gd name="T38" fmla="*/ 639 w 942"/>
                  <a:gd name="T39" fmla="*/ 8467 h 844"/>
                  <a:gd name="T40" fmla="*/ 0 w 942"/>
                  <a:gd name="T41" fmla="*/ 8467 h 844"/>
                  <a:gd name="T42" fmla="*/ 639 w 942"/>
                  <a:gd name="T43" fmla="*/ 8467 h 844"/>
                  <a:gd name="T44" fmla="*/ 639 w 942"/>
                  <a:gd name="T45" fmla="*/ 8467 h 844"/>
                  <a:gd name="T46" fmla="*/ 0 w 942"/>
                  <a:gd name="T47" fmla="*/ 8467 h 844"/>
                  <a:gd name="T48" fmla="*/ 639 w 942"/>
                  <a:gd name="T49" fmla="*/ 8467 h 844"/>
                  <a:gd name="T50" fmla="*/ 639 w 942"/>
                  <a:gd name="T51" fmla="*/ 8467 h 844"/>
                  <a:gd name="T52" fmla="*/ 639 w 942"/>
                  <a:gd name="T53" fmla="*/ 8467 h 844"/>
                  <a:gd name="T54" fmla="*/ 639 w 942"/>
                  <a:gd name="T55" fmla="*/ 8467 h 844"/>
                  <a:gd name="T56" fmla="*/ 639 w 942"/>
                  <a:gd name="T57" fmla="*/ 8467 h 844"/>
                  <a:gd name="T58" fmla="*/ 639 w 942"/>
                  <a:gd name="T59" fmla="*/ 8467 h 844"/>
                  <a:gd name="T60" fmla="*/ 639 w 942"/>
                  <a:gd name="T61" fmla="*/ 8467 h 844"/>
                  <a:gd name="T62" fmla="*/ 639 w 942"/>
                  <a:gd name="T63" fmla="*/ 8467 h 844"/>
                  <a:gd name="T64" fmla="*/ 639 w 942"/>
                  <a:gd name="T65" fmla="*/ 8467 h 844"/>
                  <a:gd name="T66" fmla="*/ 639 w 942"/>
                  <a:gd name="T67" fmla="*/ 8467 h 844"/>
                  <a:gd name="T68" fmla="*/ 639 w 942"/>
                  <a:gd name="T69" fmla="*/ 8467 h 844"/>
                  <a:gd name="T70" fmla="*/ 639 w 942"/>
                  <a:gd name="T71" fmla="*/ 8467 h 844"/>
                  <a:gd name="T72" fmla="*/ 639 w 942"/>
                  <a:gd name="T73" fmla="*/ 8467 h 844"/>
                  <a:gd name="T74" fmla="*/ 639 w 942"/>
                  <a:gd name="T75" fmla="*/ 8467 h 844"/>
                  <a:gd name="T76" fmla="*/ 639 w 942"/>
                  <a:gd name="T77" fmla="*/ 8467 h 844"/>
                  <a:gd name="T78" fmla="*/ 639 w 942"/>
                  <a:gd name="T79" fmla="*/ 8467 h 844"/>
                  <a:gd name="T80" fmla="*/ 639 w 942"/>
                  <a:gd name="T81" fmla="*/ 8467 h 844"/>
                  <a:gd name="T82" fmla="*/ 639 w 942"/>
                  <a:gd name="T83" fmla="*/ 8467 h 844"/>
                  <a:gd name="T84" fmla="*/ 639 w 942"/>
                  <a:gd name="T85" fmla="*/ 8467 h 844"/>
                  <a:gd name="T86" fmla="*/ 639 w 942"/>
                  <a:gd name="T87" fmla="*/ 8467 h 844"/>
                  <a:gd name="T88" fmla="*/ 639 w 942"/>
                  <a:gd name="T89" fmla="*/ 8467 h 844"/>
                  <a:gd name="T90" fmla="*/ 639 w 942"/>
                  <a:gd name="T91" fmla="*/ 8467 h 844"/>
                  <a:gd name="T92" fmla="*/ 639 w 942"/>
                  <a:gd name="T93" fmla="*/ 8467 h 844"/>
                  <a:gd name="T94" fmla="*/ 639 w 942"/>
                  <a:gd name="T95" fmla="*/ 8467 h 844"/>
                  <a:gd name="T96" fmla="*/ 639 w 942"/>
                  <a:gd name="T97" fmla="*/ 8467 h 844"/>
                  <a:gd name="T98" fmla="*/ 639 w 942"/>
                  <a:gd name="T99" fmla="*/ 8467 h 844"/>
                  <a:gd name="T100" fmla="*/ 639 w 942"/>
                  <a:gd name="T101" fmla="*/ 8467 h 844"/>
                  <a:gd name="T102" fmla="*/ 639 w 942"/>
                  <a:gd name="T103" fmla="*/ 8467 h 844"/>
                  <a:gd name="T104" fmla="*/ 639 w 942"/>
                  <a:gd name="T105" fmla="*/ 8467 h 84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942" h="844">
                    <a:moveTo>
                      <a:pt x="888" y="483"/>
                    </a:moveTo>
                    <a:lnTo>
                      <a:pt x="865" y="449"/>
                    </a:lnTo>
                    <a:lnTo>
                      <a:pt x="865" y="407"/>
                    </a:lnTo>
                    <a:lnTo>
                      <a:pt x="833" y="364"/>
                    </a:lnTo>
                    <a:lnTo>
                      <a:pt x="865" y="310"/>
                    </a:lnTo>
                    <a:lnTo>
                      <a:pt x="876" y="245"/>
                    </a:lnTo>
                    <a:lnTo>
                      <a:pt x="833" y="119"/>
                    </a:lnTo>
                    <a:lnTo>
                      <a:pt x="823" y="87"/>
                    </a:lnTo>
                    <a:lnTo>
                      <a:pt x="780" y="45"/>
                    </a:lnTo>
                    <a:lnTo>
                      <a:pt x="758" y="34"/>
                    </a:lnTo>
                    <a:lnTo>
                      <a:pt x="684" y="54"/>
                    </a:lnTo>
                    <a:lnTo>
                      <a:pt x="599" y="64"/>
                    </a:lnTo>
                    <a:lnTo>
                      <a:pt x="481" y="54"/>
                    </a:lnTo>
                    <a:lnTo>
                      <a:pt x="449" y="76"/>
                    </a:lnTo>
                    <a:lnTo>
                      <a:pt x="396" y="76"/>
                    </a:lnTo>
                    <a:lnTo>
                      <a:pt x="362" y="0"/>
                    </a:lnTo>
                    <a:lnTo>
                      <a:pt x="300" y="22"/>
                    </a:lnTo>
                    <a:lnTo>
                      <a:pt x="223" y="45"/>
                    </a:lnTo>
                    <a:lnTo>
                      <a:pt x="170" y="96"/>
                    </a:lnTo>
                    <a:lnTo>
                      <a:pt x="96" y="107"/>
                    </a:lnTo>
                    <a:lnTo>
                      <a:pt x="0" y="171"/>
                    </a:lnTo>
                    <a:lnTo>
                      <a:pt x="9" y="215"/>
                    </a:lnTo>
                    <a:lnTo>
                      <a:pt x="9" y="257"/>
                    </a:lnTo>
                    <a:lnTo>
                      <a:pt x="0" y="300"/>
                    </a:lnTo>
                    <a:lnTo>
                      <a:pt x="19" y="333"/>
                    </a:lnTo>
                    <a:lnTo>
                      <a:pt x="31" y="494"/>
                    </a:lnTo>
                    <a:lnTo>
                      <a:pt x="54" y="526"/>
                    </a:lnTo>
                    <a:lnTo>
                      <a:pt x="62" y="568"/>
                    </a:lnTo>
                    <a:lnTo>
                      <a:pt x="54" y="610"/>
                    </a:lnTo>
                    <a:lnTo>
                      <a:pt x="84" y="588"/>
                    </a:lnTo>
                    <a:lnTo>
                      <a:pt x="116" y="621"/>
                    </a:lnTo>
                    <a:lnTo>
                      <a:pt x="150" y="621"/>
                    </a:lnTo>
                    <a:lnTo>
                      <a:pt x="181" y="645"/>
                    </a:lnTo>
                    <a:lnTo>
                      <a:pt x="215" y="695"/>
                    </a:lnTo>
                    <a:lnTo>
                      <a:pt x="245" y="717"/>
                    </a:lnTo>
                    <a:lnTo>
                      <a:pt x="257" y="675"/>
                    </a:lnTo>
                    <a:lnTo>
                      <a:pt x="319" y="695"/>
                    </a:lnTo>
                    <a:lnTo>
                      <a:pt x="354" y="737"/>
                    </a:lnTo>
                    <a:lnTo>
                      <a:pt x="449" y="802"/>
                    </a:lnTo>
                    <a:lnTo>
                      <a:pt x="469" y="814"/>
                    </a:lnTo>
                    <a:lnTo>
                      <a:pt x="511" y="794"/>
                    </a:lnTo>
                    <a:lnTo>
                      <a:pt x="577" y="844"/>
                    </a:lnTo>
                    <a:lnTo>
                      <a:pt x="607" y="814"/>
                    </a:lnTo>
                    <a:lnTo>
                      <a:pt x="672" y="814"/>
                    </a:lnTo>
                    <a:lnTo>
                      <a:pt x="707" y="794"/>
                    </a:lnTo>
                    <a:lnTo>
                      <a:pt x="758" y="802"/>
                    </a:lnTo>
                    <a:lnTo>
                      <a:pt x="791" y="836"/>
                    </a:lnTo>
                    <a:lnTo>
                      <a:pt x="811" y="836"/>
                    </a:lnTo>
                    <a:lnTo>
                      <a:pt x="845" y="749"/>
                    </a:lnTo>
                    <a:lnTo>
                      <a:pt x="876" y="675"/>
                    </a:lnTo>
                    <a:lnTo>
                      <a:pt x="942" y="621"/>
                    </a:lnTo>
                    <a:lnTo>
                      <a:pt x="930" y="568"/>
                    </a:lnTo>
                    <a:lnTo>
                      <a:pt x="888" y="483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1" name="Freeform 45"/>
              <p:cNvSpPr>
                <a:spLocks/>
              </p:cNvSpPr>
              <p:nvPr/>
            </p:nvSpPr>
            <p:spPr bwMode="auto">
              <a:xfrm>
                <a:off x="3630162" y="3119610"/>
                <a:ext cx="232933" cy="153988"/>
              </a:xfrm>
              <a:custGeom>
                <a:avLst/>
                <a:gdLst>
                  <a:gd name="T0" fmla="*/ 0 w 312"/>
                  <a:gd name="T1" fmla="*/ 8949 h 235"/>
                  <a:gd name="T2" fmla="*/ 762 w 312"/>
                  <a:gd name="T3" fmla="*/ 8949 h 235"/>
                  <a:gd name="T4" fmla="*/ 762 w 312"/>
                  <a:gd name="T5" fmla="*/ 8949 h 235"/>
                  <a:gd name="T6" fmla="*/ 762 w 312"/>
                  <a:gd name="T7" fmla="*/ 8949 h 235"/>
                  <a:gd name="T8" fmla="*/ 762 w 312"/>
                  <a:gd name="T9" fmla="*/ 8949 h 235"/>
                  <a:gd name="T10" fmla="*/ 762 w 312"/>
                  <a:gd name="T11" fmla="*/ 8949 h 235"/>
                  <a:gd name="T12" fmla="*/ 762 w 312"/>
                  <a:gd name="T13" fmla="*/ 8949 h 235"/>
                  <a:gd name="T14" fmla="*/ 762 w 312"/>
                  <a:gd name="T15" fmla="*/ 8949 h 235"/>
                  <a:gd name="T16" fmla="*/ 762 w 312"/>
                  <a:gd name="T17" fmla="*/ 8949 h 235"/>
                  <a:gd name="T18" fmla="*/ 762 w 312"/>
                  <a:gd name="T19" fmla="*/ 8949 h 235"/>
                  <a:gd name="T20" fmla="*/ 762 w 312"/>
                  <a:gd name="T21" fmla="*/ 8949 h 235"/>
                  <a:gd name="T22" fmla="*/ 762 w 312"/>
                  <a:gd name="T23" fmla="*/ 8949 h 235"/>
                  <a:gd name="T24" fmla="*/ 762 w 312"/>
                  <a:gd name="T25" fmla="*/ 0 h 235"/>
                  <a:gd name="T26" fmla="*/ 762 w 312"/>
                  <a:gd name="T27" fmla="*/ 8949 h 235"/>
                  <a:gd name="T28" fmla="*/ 762 w 312"/>
                  <a:gd name="T29" fmla="*/ 8949 h 235"/>
                  <a:gd name="T30" fmla="*/ 762 w 312"/>
                  <a:gd name="T31" fmla="*/ 8949 h 235"/>
                  <a:gd name="T32" fmla="*/ 762 w 312"/>
                  <a:gd name="T33" fmla="*/ 8949 h 235"/>
                  <a:gd name="T34" fmla="*/ 762 w 312"/>
                  <a:gd name="T35" fmla="*/ 8949 h 235"/>
                  <a:gd name="T36" fmla="*/ 762 w 312"/>
                  <a:gd name="T37" fmla="*/ 8949 h 235"/>
                  <a:gd name="T38" fmla="*/ 762 w 312"/>
                  <a:gd name="T39" fmla="*/ 8949 h 235"/>
                  <a:gd name="T40" fmla="*/ 0 w 312"/>
                  <a:gd name="T41" fmla="*/ 8949 h 23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312" h="235">
                    <a:moveTo>
                      <a:pt x="0" y="226"/>
                    </a:moveTo>
                    <a:lnTo>
                      <a:pt x="32" y="215"/>
                    </a:lnTo>
                    <a:lnTo>
                      <a:pt x="32" y="203"/>
                    </a:lnTo>
                    <a:lnTo>
                      <a:pt x="54" y="193"/>
                    </a:lnTo>
                    <a:lnTo>
                      <a:pt x="32" y="173"/>
                    </a:lnTo>
                    <a:lnTo>
                      <a:pt x="20" y="119"/>
                    </a:lnTo>
                    <a:lnTo>
                      <a:pt x="20" y="77"/>
                    </a:lnTo>
                    <a:lnTo>
                      <a:pt x="32" y="65"/>
                    </a:lnTo>
                    <a:lnTo>
                      <a:pt x="106" y="77"/>
                    </a:lnTo>
                    <a:lnTo>
                      <a:pt x="181" y="32"/>
                    </a:lnTo>
                    <a:lnTo>
                      <a:pt x="213" y="32"/>
                    </a:lnTo>
                    <a:lnTo>
                      <a:pt x="247" y="22"/>
                    </a:lnTo>
                    <a:lnTo>
                      <a:pt x="290" y="0"/>
                    </a:lnTo>
                    <a:lnTo>
                      <a:pt x="312" y="22"/>
                    </a:lnTo>
                    <a:lnTo>
                      <a:pt x="290" y="32"/>
                    </a:lnTo>
                    <a:lnTo>
                      <a:pt x="290" y="54"/>
                    </a:lnTo>
                    <a:lnTo>
                      <a:pt x="213" y="88"/>
                    </a:lnTo>
                    <a:lnTo>
                      <a:pt x="181" y="215"/>
                    </a:lnTo>
                    <a:lnTo>
                      <a:pt x="106" y="193"/>
                    </a:lnTo>
                    <a:lnTo>
                      <a:pt x="32" y="235"/>
                    </a:lnTo>
                    <a:lnTo>
                      <a:pt x="0" y="226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2" name="Freeform 46"/>
              <p:cNvSpPr>
                <a:spLocks/>
              </p:cNvSpPr>
              <p:nvPr/>
            </p:nvSpPr>
            <p:spPr bwMode="auto">
              <a:xfrm>
                <a:off x="4231907" y="3540298"/>
                <a:ext cx="207052" cy="160338"/>
              </a:xfrm>
              <a:custGeom>
                <a:avLst/>
                <a:gdLst>
                  <a:gd name="T0" fmla="*/ 634 w 281"/>
                  <a:gd name="T1" fmla="*/ 8305 h 246"/>
                  <a:gd name="T2" fmla="*/ 634 w 281"/>
                  <a:gd name="T3" fmla="*/ 8305 h 246"/>
                  <a:gd name="T4" fmla="*/ 634 w 281"/>
                  <a:gd name="T5" fmla="*/ 8305 h 246"/>
                  <a:gd name="T6" fmla="*/ 634 w 281"/>
                  <a:gd name="T7" fmla="*/ 8305 h 246"/>
                  <a:gd name="T8" fmla="*/ 634 w 281"/>
                  <a:gd name="T9" fmla="*/ 8305 h 246"/>
                  <a:gd name="T10" fmla="*/ 634 w 281"/>
                  <a:gd name="T11" fmla="*/ 8305 h 246"/>
                  <a:gd name="T12" fmla="*/ 634 w 281"/>
                  <a:gd name="T13" fmla="*/ 8305 h 246"/>
                  <a:gd name="T14" fmla="*/ 634 w 281"/>
                  <a:gd name="T15" fmla="*/ 8305 h 246"/>
                  <a:gd name="T16" fmla="*/ 634 w 281"/>
                  <a:gd name="T17" fmla="*/ 8305 h 246"/>
                  <a:gd name="T18" fmla="*/ 0 w 281"/>
                  <a:gd name="T19" fmla="*/ 8305 h 246"/>
                  <a:gd name="T20" fmla="*/ 0 w 281"/>
                  <a:gd name="T21" fmla="*/ 8305 h 246"/>
                  <a:gd name="T22" fmla="*/ 0 w 281"/>
                  <a:gd name="T23" fmla="*/ 8305 h 246"/>
                  <a:gd name="T24" fmla="*/ 634 w 281"/>
                  <a:gd name="T25" fmla="*/ 8305 h 246"/>
                  <a:gd name="T26" fmla="*/ 634 w 281"/>
                  <a:gd name="T27" fmla="*/ 8305 h 246"/>
                  <a:gd name="T28" fmla="*/ 634 w 281"/>
                  <a:gd name="T29" fmla="*/ 8305 h 246"/>
                  <a:gd name="T30" fmla="*/ 634 w 281"/>
                  <a:gd name="T31" fmla="*/ 0 h 246"/>
                  <a:gd name="T32" fmla="*/ 634 w 281"/>
                  <a:gd name="T33" fmla="*/ 0 h 246"/>
                  <a:gd name="T34" fmla="*/ 634 w 281"/>
                  <a:gd name="T35" fmla="*/ 8305 h 24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281" h="246">
                    <a:moveTo>
                      <a:pt x="204" y="11"/>
                    </a:moveTo>
                    <a:lnTo>
                      <a:pt x="204" y="23"/>
                    </a:lnTo>
                    <a:lnTo>
                      <a:pt x="258" y="53"/>
                    </a:lnTo>
                    <a:lnTo>
                      <a:pt x="281" y="150"/>
                    </a:lnTo>
                    <a:lnTo>
                      <a:pt x="247" y="184"/>
                    </a:lnTo>
                    <a:lnTo>
                      <a:pt x="204" y="192"/>
                    </a:lnTo>
                    <a:lnTo>
                      <a:pt x="97" y="237"/>
                    </a:lnTo>
                    <a:lnTo>
                      <a:pt x="66" y="246"/>
                    </a:lnTo>
                    <a:lnTo>
                      <a:pt x="24" y="214"/>
                    </a:lnTo>
                    <a:lnTo>
                      <a:pt x="0" y="172"/>
                    </a:lnTo>
                    <a:lnTo>
                      <a:pt x="0" y="107"/>
                    </a:lnTo>
                    <a:lnTo>
                      <a:pt x="0" y="87"/>
                    </a:lnTo>
                    <a:lnTo>
                      <a:pt x="12" y="76"/>
                    </a:lnTo>
                    <a:lnTo>
                      <a:pt x="12" y="53"/>
                    </a:lnTo>
                    <a:lnTo>
                      <a:pt x="55" y="23"/>
                    </a:lnTo>
                    <a:lnTo>
                      <a:pt x="89" y="0"/>
                    </a:lnTo>
                    <a:lnTo>
                      <a:pt x="185" y="0"/>
                    </a:lnTo>
                    <a:lnTo>
                      <a:pt x="204" y="11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3" name="Freeform 47"/>
              <p:cNvSpPr>
                <a:spLocks/>
              </p:cNvSpPr>
              <p:nvPr/>
            </p:nvSpPr>
            <p:spPr bwMode="auto">
              <a:xfrm>
                <a:off x="3630162" y="3135485"/>
                <a:ext cx="489591" cy="425450"/>
              </a:xfrm>
              <a:custGeom>
                <a:avLst/>
                <a:gdLst>
                  <a:gd name="T0" fmla="*/ 667 w 662"/>
                  <a:gd name="T1" fmla="*/ 8261 h 653"/>
                  <a:gd name="T2" fmla="*/ 667 w 662"/>
                  <a:gd name="T3" fmla="*/ 8261 h 653"/>
                  <a:gd name="T4" fmla="*/ 667 w 662"/>
                  <a:gd name="T5" fmla="*/ 8261 h 653"/>
                  <a:gd name="T6" fmla="*/ 667 w 662"/>
                  <a:gd name="T7" fmla="*/ 8261 h 653"/>
                  <a:gd name="T8" fmla="*/ 667 w 662"/>
                  <a:gd name="T9" fmla="*/ 8261 h 653"/>
                  <a:gd name="T10" fmla="*/ 667 w 662"/>
                  <a:gd name="T11" fmla="*/ 8261 h 653"/>
                  <a:gd name="T12" fmla="*/ 667 w 662"/>
                  <a:gd name="T13" fmla="*/ 8261 h 653"/>
                  <a:gd name="T14" fmla="*/ 667 w 662"/>
                  <a:gd name="T15" fmla="*/ 8261 h 653"/>
                  <a:gd name="T16" fmla="*/ 667 w 662"/>
                  <a:gd name="T17" fmla="*/ 8261 h 653"/>
                  <a:gd name="T18" fmla="*/ 667 w 662"/>
                  <a:gd name="T19" fmla="*/ 8261 h 653"/>
                  <a:gd name="T20" fmla="*/ 667 w 662"/>
                  <a:gd name="T21" fmla="*/ 8261 h 653"/>
                  <a:gd name="T22" fmla="*/ 667 w 662"/>
                  <a:gd name="T23" fmla="*/ 8261 h 653"/>
                  <a:gd name="T24" fmla="*/ 667 w 662"/>
                  <a:gd name="T25" fmla="*/ 8261 h 653"/>
                  <a:gd name="T26" fmla="*/ 667 w 662"/>
                  <a:gd name="T27" fmla="*/ 8261 h 653"/>
                  <a:gd name="T28" fmla="*/ 0 w 662"/>
                  <a:gd name="T29" fmla="*/ 8261 h 653"/>
                  <a:gd name="T30" fmla="*/ 667 w 662"/>
                  <a:gd name="T31" fmla="*/ 8261 h 653"/>
                  <a:gd name="T32" fmla="*/ 667 w 662"/>
                  <a:gd name="T33" fmla="*/ 8261 h 653"/>
                  <a:gd name="T34" fmla="*/ 667 w 662"/>
                  <a:gd name="T35" fmla="*/ 8261 h 653"/>
                  <a:gd name="T36" fmla="*/ 667 w 662"/>
                  <a:gd name="T37" fmla="*/ 8261 h 653"/>
                  <a:gd name="T38" fmla="*/ 667 w 662"/>
                  <a:gd name="T39" fmla="*/ 8261 h 653"/>
                  <a:gd name="T40" fmla="*/ 667 w 662"/>
                  <a:gd name="T41" fmla="*/ 8261 h 653"/>
                  <a:gd name="T42" fmla="*/ 667 w 662"/>
                  <a:gd name="T43" fmla="*/ 0 h 653"/>
                  <a:gd name="T44" fmla="*/ 667 w 662"/>
                  <a:gd name="T45" fmla="*/ 8261 h 653"/>
                  <a:gd name="T46" fmla="*/ 667 w 662"/>
                  <a:gd name="T47" fmla="*/ 8261 h 653"/>
                  <a:gd name="T48" fmla="*/ 667 w 662"/>
                  <a:gd name="T49" fmla="*/ 8261 h 653"/>
                  <a:gd name="T50" fmla="*/ 667 w 662"/>
                  <a:gd name="T51" fmla="*/ 8261 h 653"/>
                  <a:gd name="T52" fmla="*/ 667 w 662"/>
                  <a:gd name="T53" fmla="*/ 8261 h 653"/>
                  <a:gd name="T54" fmla="*/ 667 w 662"/>
                  <a:gd name="T55" fmla="*/ 8261 h 653"/>
                  <a:gd name="T56" fmla="*/ 667 w 662"/>
                  <a:gd name="T57" fmla="*/ 8261 h 653"/>
                  <a:gd name="T58" fmla="*/ 667 w 662"/>
                  <a:gd name="T59" fmla="*/ 8261 h 653"/>
                  <a:gd name="T60" fmla="*/ 667 w 662"/>
                  <a:gd name="T61" fmla="*/ 8261 h 653"/>
                  <a:gd name="T62" fmla="*/ 667 w 662"/>
                  <a:gd name="T63" fmla="*/ 8261 h 653"/>
                  <a:gd name="T64" fmla="*/ 667 w 662"/>
                  <a:gd name="T65" fmla="*/ 8261 h 653"/>
                  <a:gd name="T66" fmla="*/ 667 w 662"/>
                  <a:gd name="T67" fmla="*/ 8261 h 653"/>
                  <a:gd name="T68" fmla="*/ 667 w 662"/>
                  <a:gd name="T69" fmla="*/ 8261 h 653"/>
                  <a:gd name="T70" fmla="*/ 667 w 662"/>
                  <a:gd name="T71" fmla="*/ 8261 h 653"/>
                  <a:gd name="T72" fmla="*/ 667 w 662"/>
                  <a:gd name="T73" fmla="*/ 8261 h 653"/>
                  <a:gd name="T74" fmla="*/ 667 w 662"/>
                  <a:gd name="T75" fmla="*/ 8261 h 653"/>
                  <a:gd name="T76" fmla="*/ 667 w 662"/>
                  <a:gd name="T77" fmla="*/ 8261 h 653"/>
                  <a:gd name="T78" fmla="*/ 667 w 662"/>
                  <a:gd name="T79" fmla="*/ 8261 h 653"/>
                  <a:gd name="T80" fmla="*/ 667 w 662"/>
                  <a:gd name="T81" fmla="*/ 8261 h 653"/>
                  <a:gd name="T82" fmla="*/ 667 w 662"/>
                  <a:gd name="T83" fmla="*/ 8261 h 653"/>
                  <a:gd name="T84" fmla="*/ 667 w 662"/>
                  <a:gd name="T85" fmla="*/ 8261 h 653"/>
                  <a:gd name="T86" fmla="*/ 667 w 662"/>
                  <a:gd name="T87" fmla="*/ 8261 h 653"/>
                  <a:gd name="T88" fmla="*/ 667 w 662"/>
                  <a:gd name="T89" fmla="*/ 8261 h 653"/>
                  <a:gd name="T90" fmla="*/ 667 w 662"/>
                  <a:gd name="T91" fmla="*/ 8261 h 653"/>
                  <a:gd name="T92" fmla="*/ 667 w 662"/>
                  <a:gd name="T93" fmla="*/ 8261 h 65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62" h="653">
                    <a:moveTo>
                      <a:pt x="535" y="653"/>
                    </a:moveTo>
                    <a:lnTo>
                      <a:pt x="504" y="631"/>
                    </a:lnTo>
                    <a:lnTo>
                      <a:pt x="439" y="566"/>
                    </a:lnTo>
                    <a:lnTo>
                      <a:pt x="354" y="512"/>
                    </a:lnTo>
                    <a:lnTo>
                      <a:pt x="290" y="504"/>
                    </a:lnTo>
                    <a:lnTo>
                      <a:pt x="255" y="459"/>
                    </a:lnTo>
                    <a:lnTo>
                      <a:pt x="193" y="427"/>
                    </a:lnTo>
                    <a:lnTo>
                      <a:pt x="193" y="374"/>
                    </a:lnTo>
                    <a:lnTo>
                      <a:pt x="159" y="332"/>
                    </a:lnTo>
                    <a:lnTo>
                      <a:pt x="159" y="278"/>
                    </a:lnTo>
                    <a:lnTo>
                      <a:pt x="86" y="224"/>
                    </a:lnTo>
                    <a:lnTo>
                      <a:pt x="74" y="266"/>
                    </a:lnTo>
                    <a:lnTo>
                      <a:pt x="44" y="300"/>
                    </a:lnTo>
                    <a:lnTo>
                      <a:pt x="9" y="258"/>
                    </a:lnTo>
                    <a:lnTo>
                      <a:pt x="0" y="204"/>
                    </a:lnTo>
                    <a:lnTo>
                      <a:pt x="32" y="213"/>
                    </a:lnTo>
                    <a:lnTo>
                      <a:pt x="106" y="171"/>
                    </a:lnTo>
                    <a:lnTo>
                      <a:pt x="181" y="193"/>
                    </a:lnTo>
                    <a:lnTo>
                      <a:pt x="213" y="66"/>
                    </a:lnTo>
                    <a:lnTo>
                      <a:pt x="290" y="32"/>
                    </a:lnTo>
                    <a:lnTo>
                      <a:pt x="290" y="10"/>
                    </a:lnTo>
                    <a:lnTo>
                      <a:pt x="312" y="0"/>
                    </a:lnTo>
                    <a:lnTo>
                      <a:pt x="405" y="97"/>
                    </a:lnTo>
                    <a:lnTo>
                      <a:pt x="481" y="151"/>
                    </a:lnTo>
                    <a:lnTo>
                      <a:pt x="513" y="139"/>
                    </a:lnTo>
                    <a:lnTo>
                      <a:pt x="566" y="117"/>
                    </a:lnTo>
                    <a:lnTo>
                      <a:pt x="588" y="139"/>
                    </a:lnTo>
                    <a:lnTo>
                      <a:pt x="600" y="193"/>
                    </a:lnTo>
                    <a:lnTo>
                      <a:pt x="662" y="224"/>
                    </a:lnTo>
                    <a:lnTo>
                      <a:pt x="632" y="236"/>
                    </a:lnTo>
                    <a:lnTo>
                      <a:pt x="620" y="258"/>
                    </a:lnTo>
                    <a:lnTo>
                      <a:pt x="600" y="266"/>
                    </a:lnTo>
                    <a:lnTo>
                      <a:pt x="566" y="236"/>
                    </a:lnTo>
                    <a:lnTo>
                      <a:pt x="493" y="236"/>
                    </a:lnTo>
                    <a:lnTo>
                      <a:pt x="385" y="213"/>
                    </a:lnTo>
                    <a:lnTo>
                      <a:pt x="332" y="213"/>
                    </a:lnTo>
                    <a:lnTo>
                      <a:pt x="312" y="246"/>
                    </a:lnTo>
                    <a:lnTo>
                      <a:pt x="267" y="204"/>
                    </a:lnTo>
                    <a:lnTo>
                      <a:pt x="247" y="278"/>
                    </a:lnTo>
                    <a:lnTo>
                      <a:pt x="278" y="300"/>
                    </a:lnTo>
                    <a:lnTo>
                      <a:pt x="290" y="363"/>
                    </a:lnTo>
                    <a:lnTo>
                      <a:pt x="385" y="470"/>
                    </a:lnTo>
                    <a:lnTo>
                      <a:pt x="416" y="481"/>
                    </a:lnTo>
                    <a:lnTo>
                      <a:pt x="416" y="504"/>
                    </a:lnTo>
                    <a:lnTo>
                      <a:pt x="471" y="558"/>
                    </a:lnTo>
                    <a:lnTo>
                      <a:pt x="555" y="620"/>
                    </a:lnTo>
                    <a:lnTo>
                      <a:pt x="535" y="653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4" name="Freeform 48"/>
              <p:cNvSpPr>
                <a:spLocks/>
              </p:cNvSpPr>
              <p:nvPr/>
            </p:nvSpPr>
            <p:spPr bwMode="auto">
              <a:xfrm>
                <a:off x="4050736" y="3179935"/>
                <a:ext cx="347243" cy="417513"/>
              </a:xfrm>
              <a:custGeom>
                <a:avLst/>
                <a:gdLst>
                  <a:gd name="T0" fmla="*/ 602 w 473"/>
                  <a:gd name="T1" fmla="*/ 8228 h 641"/>
                  <a:gd name="T2" fmla="*/ 602 w 473"/>
                  <a:gd name="T3" fmla="*/ 8228 h 641"/>
                  <a:gd name="T4" fmla="*/ 602 w 473"/>
                  <a:gd name="T5" fmla="*/ 8228 h 641"/>
                  <a:gd name="T6" fmla="*/ 602 w 473"/>
                  <a:gd name="T7" fmla="*/ 8228 h 641"/>
                  <a:gd name="T8" fmla="*/ 602 w 473"/>
                  <a:gd name="T9" fmla="*/ 8228 h 641"/>
                  <a:gd name="T10" fmla="*/ 602 w 473"/>
                  <a:gd name="T11" fmla="*/ 8228 h 641"/>
                  <a:gd name="T12" fmla="*/ 602 w 473"/>
                  <a:gd name="T13" fmla="*/ 8228 h 641"/>
                  <a:gd name="T14" fmla="*/ 602 w 473"/>
                  <a:gd name="T15" fmla="*/ 8228 h 641"/>
                  <a:gd name="T16" fmla="*/ 602 w 473"/>
                  <a:gd name="T17" fmla="*/ 8228 h 641"/>
                  <a:gd name="T18" fmla="*/ 602 w 473"/>
                  <a:gd name="T19" fmla="*/ 8228 h 641"/>
                  <a:gd name="T20" fmla="*/ 602 w 473"/>
                  <a:gd name="T21" fmla="*/ 8228 h 641"/>
                  <a:gd name="T22" fmla="*/ 602 w 473"/>
                  <a:gd name="T23" fmla="*/ 8228 h 641"/>
                  <a:gd name="T24" fmla="*/ 602 w 473"/>
                  <a:gd name="T25" fmla="*/ 8228 h 641"/>
                  <a:gd name="T26" fmla="*/ 602 w 473"/>
                  <a:gd name="T27" fmla="*/ 8228 h 641"/>
                  <a:gd name="T28" fmla="*/ 602 w 473"/>
                  <a:gd name="T29" fmla="*/ 8228 h 641"/>
                  <a:gd name="T30" fmla="*/ 602 w 473"/>
                  <a:gd name="T31" fmla="*/ 8228 h 641"/>
                  <a:gd name="T32" fmla="*/ 602 w 473"/>
                  <a:gd name="T33" fmla="*/ 8228 h 641"/>
                  <a:gd name="T34" fmla="*/ 602 w 473"/>
                  <a:gd name="T35" fmla="*/ 8228 h 641"/>
                  <a:gd name="T36" fmla="*/ 0 w 473"/>
                  <a:gd name="T37" fmla="*/ 8228 h 641"/>
                  <a:gd name="T38" fmla="*/ 602 w 473"/>
                  <a:gd name="T39" fmla="*/ 8228 h 641"/>
                  <a:gd name="T40" fmla="*/ 602 w 473"/>
                  <a:gd name="T41" fmla="*/ 0 h 641"/>
                  <a:gd name="T42" fmla="*/ 602 w 473"/>
                  <a:gd name="T43" fmla="*/ 8228 h 641"/>
                  <a:gd name="T44" fmla="*/ 602 w 473"/>
                  <a:gd name="T45" fmla="*/ 8228 h 641"/>
                  <a:gd name="T46" fmla="*/ 602 w 473"/>
                  <a:gd name="T47" fmla="*/ 8228 h 641"/>
                  <a:gd name="T48" fmla="*/ 602 w 473"/>
                  <a:gd name="T49" fmla="*/ 8228 h 641"/>
                  <a:gd name="T50" fmla="*/ 602 w 473"/>
                  <a:gd name="T51" fmla="*/ 8228 h 641"/>
                  <a:gd name="T52" fmla="*/ 602 w 473"/>
                  <a:gd name="T53" fmla="*/ 8228 h 641"/>
                  <a:gd name="T54" fmla="*/ 602 w 473"/>
                  <a:gd name="T55" fmla="*/ 8228 h 641"/>
                  <a:gd name="T56" fmla="*/ 602 w 473"/>
                  <a:gd name="T57" fmla="*/ 8228 h 641"/>
                  <a:gd name="T58" fmla="*/ 602 w 473"/>
                  <a:gd name="T59" fmla="*/ 8228 h 641"/>
                  <a:gd name="T60" fmla="*/ 602 w 473"/>
                  <a:gd name="T61" fmla="*/ 8228 h 641"/>
                  <a:gd name="T62" fmla="*/ 602 w 473"/>
                  <a:gd name="T63" fmla="*/ 8228 h 641"/>
                  <a:gd name="T64" fmla="*/ 602 w 473"/>
                  <a:gd name="T65" fmla="*/ 8228 h 641"/>
                  <a:gd name="T66" fmla="*/ 602 w 473"/>
                  <a:gd name="T67" fmla="*/ 8228 h 641"/>
                  <a:gd name="T68" fmla="*/ 602 w 473"/>
                  <a:gd name="T69" fmla="*/ 8228 h 641"/>
                  <a:gd name="T70" fmla="*/ 602 w 473"/>
                  <a:gd name="T71" fmla="*/ 8228 h 641"/>
                  <a:gd name="T72" fmla="*/ 602 w 473"/>
                  <a:gd name="T73" fmla="*/ 8228 h 641"/>
                  <a:gd name="T74" fmla="*/ 602 w 473"/>
                  <a:gd name="T75" fmla="*/ 8228 h 641"/>
                  <a:gd name="T76" fmla="*/ 602 w 473"/>
                  <a:gd name="T77" fmla="*/ 8228 h 641"/>
                  <a:gd name="T78" fmla="*/ 602 w 473"/>
                  <a:gd name="T79" fmla="*/ 8228 h 641"/>
                  <a:gd name="T80" fmla="*/ 602 w 473"/>
                  <a:gd name="T81" fmla="*/ 8228 h 641"/>
                  <a:gd name="T82" fmla="*/ 602 w 473"/>
                  <a:gd name="T83" fmla="*/ 8228 h 641"/>
                  <a:gd name="T84" fmla="*/ 602 w 473"/>
                  <a:gd name="T85" fmla="*/ 8228 h 641"/>
                  <a:gd name="T86" fmla="*/ 602 w 473"/>
                  <a:gd name="T87" fmla="*/ 8228 h 641"/>
                  <a:gd name="T88" fmla="*/ 602 w 473"/>
                  <a:gd name="T89" fmla="*/ 8228 h 641"/>
                  <a:gd name="T90" fmla="*/ 602 w 473"/>
                  <a:gd name="T91" fmla="*/ 8228 h 64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73" h="641">
                    <a:moveTo>
                      <a:pt x="161" y="542"/>
                    </a:moveTo>
                    <a:lnTo>
                      <a:pt x="161" y="512"/>
                    </a:lnTo>
                    <a:lnTo>
                      <a:pt x="183" y="523"/>
                    </a:lnTo>
                    <a:lnTo>
                      <a:pt x="203" y="500"/>
                    </a:lnTo>
                    <a:lnTo>
                      <a:pt x="76" y="426"/>
                    </a:lnTo>
                    <a:lnTo>
                      <a:pt x="76" y="404"/>
                    </a:lnTo>
                    <a:lnTo>
                      <a:pt x="88" y="384"/>
                    </a:lnTo>
                    <a:lnTo>
                      <a:pt x="108" y="384"/>
                    </a:lnTo>
                    <a:lnTo>
                      <a:pt x="88" y="331"/>
                    </a:lnTo>
                    <a:lnTo>
                      <a:pt x="119" y="331"/>
                    </a:lnTo>
                    <a:lnTo>
                      <a:pt x="119" y="319"/>
                    </a:lnTo>
                    <a:lnTo>
                      <a:pt x="66" y="289"/>
                    </a:lnTo>
                    <a:lnTo>
                      <a:pt x="96" y="212"/>
                    </a:lnTo>
                    <a:lnTo>
                      <a:pt x="54" y="192"/>
                    </a:lnTo>
                    <a:lnTo>
                      <a:pt x="66" y="170"/>
                    </a:lnTo>
                    <a:lnTo>
                      <a:pt x="96" y="158"/>
                    </a:lnTo>
                    <a:lnTo>
                      <a:pt x="34" y="127"/>
                    </a:lnTo>
                    <a:lnTo>
                      <a:pt x="22" y="73"/>
                    </a:lnTo>
                    <a:lnTo>
                      <a:pt x="0" y="51"/>
                    </a:lnTo>
                    <a:lnTo>
                      <a:pt x="96" y="8"/>
                    </a:lnTo>
                    <a:lnTo>
                      <a:pt x="138" y="0"/>
                    </a:lnTo>
                    <a:lnTo>
                      <a:pt x="161" y="8"/>
                    </a:lnTo>
                    <a:lnTo>
                      <a:pt x="203" y="31"/>
                    </a:lnTo>
                    <a:lnTo>
                      <a:pt x="226" y="73"/>
                    </a:lnTo>
                    <a:lnTo>
                      <a:pt x="257" y="127"/>
                    </a:lnTo>
                    <a:lnTo>
                      <a:pt x="300" y="147"/>
                    </a:lnTo>
                    <a:lnTo>
                      <a:pt x="311" y="192"/>
                    </a:lnTo>
                    <a:lnTo>
                      <a:pt x="342" y="212"/>
                    </a:lnTo>
                    <a:lnTo>
                      <a:pt x="376" y="224"/>
                    </a:lnTo>
                    <a:lnTo>
                      <a:pt x="419" y="200"/>
                    </a:lnTo>
                    <a:lnTo>
                      <a:pt x="419" y="242"/>
                    </a:lnTo>
                    <a:lnTo>
                      <a:pt x="461" y="289"/>
                    </a:lnTo>
                    <a:lnTo>
                      <a:pt x="430" y="341"/>
                    </a:lnTo>
                    <a:lnTo>
                      <a:pt x="449" y="415"/>
                    </a:lnTo>
                    <a:lnTo>
                      <a:pt x="473" y="470"/>
                    </a:lnTo>
                    <a:lnTo>
                      <a:pt x="449" y="523"/>
                    </a:lnTo>
                    <a:lnTo>
                      <a:pt x="449" y="565"/>
                    </a:lnTo>
                    <a:lnTo>
                      <a:pt x="430" y="554"/>
                    </a:lnTo>
                    <a:lnTo>
                      <a:pt x="334" y="554"/>
                    </a:lnTo>
                    <a:lnTo>
                      <a:pt x="300" y="577"/>
                    </a:lnTo>
                    <a:lnTo>
                      <a:pt x="257" y="607"/>
                    </a:lnTo>
                    <a:lnTo>
                      <a:pt x="257" y="630"/>
                    </a:lnTo>
                    <a:lnTo>
                      <a:pt x="245" y="641"/>
                    </a:lnTo>
                    <a:lnTo>
                      <a:pt x="226" y="587"/>
                    </a:lnTo>
                    <a:lnTo>
                      <a:pt x="193" y="554"/>
                    </a:lnTo>
                    <a:lnTo>
                      <a:pt x="161" y="542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5" name="Freeform 49"/>
              <p:cNvSpPr>
                <a:spLocks/>
              </p:cNvSpPr>
              <p:nvPr/>
            </p:nvSpPr>
            <p:spPr bwMode="auto">
              <a:xfrm>
                <a:off x="4029168" y="3440285"/>
                <a:ext cx="170386" cy="169863"/>
              </a:xfrm>
              <a:custGeom>
                <a:avLst/>
                <a:gdLst>
                  <a:gd name="T0" fmla="*/ 536 w 234"/>
                  <a:gd name="T1" fmla="*/ 10098 h 257"/>
                  <a:gd name="T2" fmla="*/ 536 w 234"/>
                  <a:gd name="T3" fmla="*/ 10098 h 257"/>
                  <a:gd name="T4" fmla="*/ 536 w 234"/>
                  <a:gd name="T5" fmla="*/ 10098 h 257"/>
                  <a:gd name="T6" fmla="*/ 536 w 234"/>
                  <a:gd name="T7" fmla="*/ 10098 h 257"/>
                  <a:gd name="T8" fmla="*/ 536 w 234"/>
                  <a:gd name="T9" fmla="*/ 10098 h 257"/>
                  <a:gd name="T10" fmla="*/ 536 w 234"/>
                  <a:gd name="T11" fmla="*/ 0 h 257"/>
                  <a:gd name="T12" fmla="*/ 536 w 234"/>
                  <a:gd name="T13" fmla="*/ 10098 h 257"/>
                  <a:gd name="T14" fmla="*/ 536 w 234"/>
                  <a:gd name="T15" fmla="*/ 0 h 257"/>
                  <a:gd name="T16" fmla="*/ 536 w 234"/>
                  <a:gd name="T17" fmla="*/ 0 h 257"/>
                  <a:gd name="T18" fmla="*/ 536 w 234"/>
                  <a:gd name="T19" fmla="*/ 10098 h 257"/>
                  <a:gd name="T20" fmla="*/ 536 w 234"/>
                  <a:gd name="T21" fmla="*/ 10098 h 257"/>
                  <a:gd name="T22" fmla="*/ 536 w 234"/>
                  <a:gd name="T23" fmla="*/ 10098 h 257"/>
                  <a:gd name="T24" fmla="*/ 536 w 234"/>
                  <a:gd name="T25" fmla="*/ 10098 h 257"/>
                  <a:gd name="T26" fmla="*/ 536 w 234"/>
                  <a:gd name="T27" fmla="*/ 10098 h 257"/>
                  <a:gd name="T28" fmla="*/ 536 w 234"/>
                  <a:gd name="T29" fmla="*/ 10098 h 257"/>
                  <a:gd name="T30" fmla="*/ 536 w 234"/>
                  <a:gd name="T31" fmla="*/ 10098 h 257"/>
                  <a:gd name="T32" fmla="*/ 536 w 234"/>
                  <a:gd name="T33" fmla="*/ 10098 h 257"/>
                  <a:gd name="T34" fmla="*/ 536 w 234"/>
                  <a:gd name="T35" fmla="*/ 10098 h 257"/>
                  <a:gd name="T36" fmla="*/ 536 w 234"/>
                  <a:gd name="T37" fmla="*/ 10098 h 257"/>
                  <a:gd name="T38" fmla="*/ 536 w 234"/>
                  <a:gd name="T39" fmla="*/ 10098 h 257"/>
                  <a:gd name="T40" fmla="*/ 0 w 234"/>
                  <a:gd name="T41" fmla="*/ 10098 h 257"/>
                  <a:gd name="T42" fmla="*/ 536 w 234"/>
                  <a:gd name="T43" fmla="*/ 10098 h 25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234" h="257">
                    <a:moveTo>
                      <a:pt x="20" y="150"/>
                    </a:moveTo>
                    <a:lnTo>
                      <a:pt x="31" y="138"/>
                    </a:lnTo>
                    <a:lnTo>
                      <a:pt x="20" y="76"/>
                    </a:lnTo>
                    <a:lnTo>
                      <a:pt x="53" y="66"/>
                    </a:lnTo>
                    <a:lnTo>
                      <a:pt x="31" y="11"/>
                    </a:lnTo>
                    <a:lnTo>
                      <a:pt x="53" y="0"/>
                    </a:lnTo>
                    <a:lnTo>
                      <a:pt x="97" y="34"/>
                    </a:lnTo>
                    <a:lnTo>
                      <a:pt x="85" y="0"/>
                    </a:lnTo>
                    <a:lnTo>
                      <a:pt x="107" y="0"/>
                    </a:lnTo>
                    <a:lnTo>
                      <a:pt x="107" y="22"/>
                    </a:lnTo>
                    <a:lnTo>
                      <a:pt x="234" y="96"/>
                    </a:lnTo>
                    <a:lnTo>
                      <a:pt x="214" y="119"/>
                    </a:lnTo>
                    <a:lnTo>
                      <a:pt x="192" y="108"/>
                    </a:lnTo>
                    <a:lnTo>
                      <a:pt x="192" y="138"/>
                    </a:lnTo>
                    <a:lnTo>
                      <a:pt x="169" y="138"/>
                    </a:lnTo>
                    <a:lnTo>
                      <a:pt x="150" y="173"/>
                    </a:lnTo>
                    <a:lnTo>
                      <a:pt x="150" y="226"/>
                    </a:lnTo>
                    <a:lnTo>
                      <a:pt x="139" y="257"/>
                    </a:lnTo>
                    <a:lnTo>
                      <a:pt x="97" y="245"/>
                    </a:lnTo>
                    <a:lnTo>
                      <a:pt x="43" y="193"/>
                    </a:lnTo>
                    <a:lnTo>
                      <a:pt x="0" y="183"/>
                    </a:lnTo>
                    <a:lnTo>
                      <a:pt x="20" y="15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6" name="Freeform 50"/>
              <p:cNvSpPr>
                <a:spLocks/>
              </p:cNvSpPr>
              <p:nvPr/>
            </p:nvSpPr>
            <p:spPr bwMode="auto">
              <a:xfrm>
                <a:off x="3341153" y="2916410"/>
                <a:ext cx="573706" cy="254000"/>
              </a:xfrm>
              <a:custGeom>
                <a:avLst/>
                <a:gdLst>
                  <a:gd name="T0" fmla="*/ 0 w 780"/>
                  <a:gd name="T1" fmla="*/ 8830 h 388"/>
                  <a:gd name="T2" fmla="*/ 618 w 780"/>
                  <a:gd name="T3" fmla="*/ 8830 h 388"/>
                  <a:gd name="T4" fmla="*/ 618 w 780"/>
                  <a:gd name="T5" fmla="*/ 8830 h 388"/>
                  <a:gd name="T6" fmla="*/ 618 w 780"/>
                  <a:gd name="T7" fmla="*/ 8830 h 388"/>
                  <a:gd name="T8" fmla="*/ 618 w 780"/>
                  <a:gd name="T9" fmla="*/ 8830 h 388"/>
                  <a:gd name="T10" fmla="*/ 618 w 780"/>
                  <a:gd name="T11" fmla="*/ 8830 h 388"/>
                  <a:gd name="T12" fmla="*/ 618 w 780"/>
                  <a:gd name="T13" fmla="*/ 8830 h 388"/>
                  <a:gd name="T14" fmla="*/ 618 w 780"/>
                  <a:gd name="T15" fmla="*/ 8830 h 388"/>
                  <a:gd name="T16" fmla="*/ 618 w 780"/>
                  <a:gd name="T17" fmla="*/ 8830 h 388"/>
                  <a:gd name="T18" fmla="*/ 618 w 780"/>
                  <a:gd name="T19" fmla="*/ 8830 h 388"/>
                  <a:gd name="T20" fmla="*/ 618 w 780"/>
                  <a:gd name="T21" fmla="*/ 8830 h 388"/>
                  <a:gd name="T22" fmla="*/ 618 w 780"/>
                  <a:gd name="T23" fmla="*/ 8830 h 388"/>
                  <a:gd name="T24" fmla="*/ 618 w 780"/>
                  <a:gd name="T25" fmla="*/ 8830 h 388"/>
                  <a:gd name="T26" fmla="*/ 618 w 780"/>
                  <a:gd name="T27" fmla="*/ 8830 h 388"/>
                  <a:gd name="T28" fmla="*/ 618 w 780"/>
                  <a:gd name="T29" fmla="*/ 8830 h 388"/>
                  <a:gd name="T30" fmla="*/ 618 w 780"/>
                  <a:gd name="T31" fmla="*/ 8830 h 388"/>
                  <a:gd name="T32" fmla="*/ 618 w 780"/>
                  <a:gd name="T33" fmla="*/ 8830 h 388"/>
                  <a:gd name="T34" fmla="*/ 618 w 780"/>
                  <a:gd name="T35" fmla="*/ 8830 h 388"/>
                  <a:gd name="T36" fmla="*/ 618 w 780"/>
                  <a:gd name="T37" fmla="*/ 8830 h 388"/>
                  <a:gd name="T38" fmla="*/ 618 w 780"/>
                  <a:gd name="T39" fmla="*/ 8830 h 388"/>
                  <a:gd name="T40" fmla="*/ 618 w 780"/>
                  <a:gd name="T41" fmla="*/ 8830 h 388"/>
                  <a:gd name="T42" fmla="*/ 618 w 780"/>
                  <a:gd name="T43" fmla="*/ 8830 h 388"/>
                  <a:gd name="T44" fmla="*/ 618 w 780"/>
                  <a:gd name="T45" fmla="*/ 8830 h 388"/>
                  <a:gd name="T46" fmla="*/ 618 w 780"/>
                  <a:gd name="T47" fmla="*/ 8830 h 388"/>
                  <a:gd name="T48" fmla="*/ 618 w 780"/>
                  <a:gd name="T49" fmla="*/ 8830 h 388"/>
                  <a:gd name="T50" fmla="*/ 618 w 780"/>
                  <a:gd name="T51" fmla="*/ 0 h 388"/>
                  <a:gd name="T52" fmla="*/ 618 w 780"/>
                  <a:gd name="T53" fmla="*/ 8830 h 388"/>
                  <a:gd name="T54" fmla="*/ 618 w 780"/>
                  <a:gd name="T55" fmla="*/ 8830 h 388"/>
                  <a:gd name="T56" fmla="*/ 618 w 780"/>
                  <a:gd name="T57" fmla="*/ 8830 h 388"/>
                  <a:gd name="T58" fmla="*/ 618 w 780"/>
                  <a:gd name="T59" fmla="*/ 8830 h 388"/>
                  <a:gd name="T60" fmla="*/ 618 w 780"/>
                  <a:gd name="T61" fmla="*/ 8830 h 388"/>
                  <a:gd name="T62" fmla="*/ 618 w 780"/>
                  <a:gd name="T63" fmla="*/ 8830 h 388"/>
                  <a:gd name="T64" fmla="*/ 618 w 780"/>
                  <a:gd name="T65" fmla="*/ 8830 h 388"/>
                  <a:gd name="T66" fmla="*/ 618 w 780"/>
                  <a:gd name="T67" fmla="*/ 8830 h 388"/>
                  <a:gd name="T68" fmla="*/ 618 w 780"/>
                  <a:gd name="T69" fmla="*/ 8830 h 388"/>
                  <a:gd name="T70" fmla="*/ 618 w 780"/>
                  <a:gd name="T71" fmla="*/ 8830 h 388"/>
                  <a:gd name="T72" fmla="*/ 618 w 780"/>
                  <a:gd name="T73" fmla="*/ 8830 h 388"/>
                  <a:gd name="T74" fmla="*/ 618 w 780"/>
                  <a:gd name="T75" fmla="*/ 8830 h 388"/>
                  <a:gd name="T76" fmla="*/ 618 w 780"/>
                  <a:gd name="T77" fmla="*/ 8830 h 388"/>
                  <a:gd name="T78" fmla="*/ 0 w 780"/>
                  <a:gd name="T79" fmla="*/ 8830 h 38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780" h="388">
                    <a:moveTo>
                      <a:pt x="0" y="204"/>
                    </a:moveTo>
                    <a:lnTo>
                      <a:pt x="31" y="246"/>
                    </a:lnTo>
                    <a:lnTo>
                      <a:pt x="8" y="281"/>
                    </a:lnTo>
                    <a:lnTo>
                      <a:pt x="62" y="300"/>
                    </a:lnTo>
                    <a:lnTo>
                      <a:pt x="85" y="300"/>
                    </a:lnTo>
                    <a:lnTo>
                      <a:pt x="116" y="311"/>
                    </a:lnTo>
                    <a:lnTo>
                      <a:pt x="192" y="291"/>
                    </a:lnTo>
                    <a:lnTo>
                      <a:pt x="223" y="291"/>
                    </a:lnTo>
                    <a:lnTo>
                      <a:pt x="266" y="281"/>
                    </a:lnTo>
                    <a:lnTo>
                      <a:pt x="278" y="323"/>
                    </a:lnTo>
                    <a:lnTo>
                      <a:pt x="342" y="353"/>
                    </a:lnTo>
                    <a:lnTo>
                      <a:pt x="427" y="376"/>
                    </a:lnTo>
                    <a:lnTo>
                      <a:pt x="501" y="388"/>
                    </a:lnTo>
                    <a:lnTo>
                      <a:pt x="576" y="343"/>
                    </a:lnTo>
                    <a:lnTo>
                      <a:pt x="608" y="343"/>
                    </a:lnTo>
                    <a:lnTo>
                      <a:pt x="642" y="333"/>
                    </a:lnTo>
                    <a:lnTo>
                      <a:pt x="685" y="311"/>
                    </a:lnTo>
                    <a:lnTo>
                      <a:pt x="715" y="291"/>
                    </a:lnTo>
                    <a:lnTo>
                      <a:pt x="715" y="246"/>
                    </a:lnTo>
                    <a:lnTo>
                      <a:pt x="749" y="184"/>
                    </a:lnTo>
                    <a:lnTo>
                      <a:pt x="780" y="184"/>
                    </a:lnTo>
                    <a:lnTo>
                      <a:pt x="780" y="130"/>
                    </a:lnTo>
                    <a:lnTo>
                      <a:pt x="737" y="23"/>
                    </a:lnTo>
                    <a:lnTo>
                      <a:pt x="673" y="35"/>
                    </a:lnTo>
                    <a:lnTo>
                      <a:pt x="650" y="12"/>
                    </a:lnTo>
                    <a:lnTo>
                      <a:pt x="576" y="0"/>
                    </a:lnTo>
                    <a:lnTo>
                      <a:pt x="534" y="45"/>
                    </a:lnTo>
                    <a:lnTo>
                      <a:pt x="501" y="55"/>
                    </a:lnTo>
                    <a:lnTo>
                      <a:pt x="449" y="35"/>
                    </a:lnTo>
                    <a:lnTo>
                      <a:pt x="404" y="55"/>
                    </a:lnTo>
                    <a:lnTo>
                      <a:pt x="342" y="130"/>
                    </a:lnTo>
                    <a:lnTo>
                      <a:pt x="362" y="192"/>
                    </a:lnTo>
                    <a:lnTo>
                      <a:pt x="320" y="192"/>
                    </a:lnTo>
                    <a:lnTo>
                      <a:pt x="288" y="184"/>
                    </a:lnTo>
                    <a:lnTo>
                      <a:pt x="159" y="226"/>
                    </a:lnTo>
                    <a:lnTo>
                      <a:pt x="107" y="204"/>
                    </a:lnTo>
                    <a:lnTo>
                      <a:pt x="74" y="226"/>
                    </a:lnTo>
                    <a:lnTo>
                      <a:pt x="50" y="204"/>
                    </a:lnTo>
                    <a:lnTo>
                      <a:pt x="20" y="192"/>
                    </a:lnTo>
                    <a:lnTo>
                      <a:pt x="0" y="204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7" name="Freeform 51"/>
              <p:cNvSpPr>
                <a:spLocks/>
              </p:cNvSpPr>
              <p:nvPr/>
            </p:nvSpPr>
            <p:spPr bwMode="auto">
              <a:xfrm>
                <a:off x="3097436" y="3100560"/>
                <a:ext cx="961928" cy="915988"/>
              </a:xfrm>
              <a:custGeom>
                <a:avLst/>
                <a:gdLst>
                  <a:gd name="T0" fmla="*/ 709 w 1295"/>
                  <a:gd name="T1" fmla="*/ 8675 h 1401"/>
                  <a:gd name="T2" fmla="*/ 709 w 1295"/>
                  <a:gd name="T3" fmla="*/ 8675 h 1401"/>
                  <a:gd name="T4" fmla="*/ 0 w 1295"/>
                  <a:gd name="T5" fmla="*/ 8675 h 1401"/>
                  <a:gd name="T6" fmla="*/ 709 w 1295"/>
                  <a:gd name="T7" fmla="*/ 8675 h 1401"/>
                  <a:gd name="T8" fmla="*/ 709 w 1295"/>
                  <a:gd name="T9" fmla="*/ 8675 h 1401"/>
                  <a:gd name="T10" fmla="*/ 709 w 1295"/>
                  <a:gd name="T11" fmla="*/ 8675 h 1401"/>
                  <a:gd name="T12" fmla="*/ 709 w 1295"/>
                  <a:gd name="T13" fmla="*/ 8675 h 1401"/>
                  <a:gd name="T14" fmla="*/ 709 w 1295"/>
                  <a:gd name="T15" fmla="*/ 8675 h 1401"/>
                  <a:gd name="T16" fmla="*/ 709 w 1295"/>
                  <a:gd name="T17" fmla="*/ 8675 h 1401"/>
                  <a:gd name="T18" fmla="*/ 709 w 1295"/>
                  <a:gd name="T19" fmla="*/ 8675 h 1401"/>
                  <a:gd name="T20" fmla="*/ 709 w 1295"/>
                  <a:gd name="T21" fmla="*/ 0 h 1401"/>
                  <a:gd name="T22" fmla="*/ 709 w 1295"/>
                  <a:gd name="T23" fmla="*/ 8675 h 1401"/>
                  <a:gd name="T24" fmla="*/ 709 w 1295"/>
                  <a:gd name="T25" fmla="*/ 8675 h 1401"/>
                  <a:gd name="T26" fmla="*/ 709 w 1295"/>
                  <a:gd name="T27" fmla="*/ 8675 h 1401"/>
                  <a:gd name="T28" fmla="*/ 709 w 1295"/>
                  <a:gd name="T29" fmla="*/ 8675 h 1401"/>
                  <a:gd name="T30" fmla="*/ 709 w 1295"/>
                  <a:gd name="T31" fmla="*/ 8675 h 1401"/>
                  <a:gd name="T32" fmla="*/ 709 w 1295"/>
                  <a:gd name="T33" fmla="*/ 8675 h 1401"/>
                  <a:gd name="T34" fmla="*/ 709 w 1295"/>
                  <a:gd name="T35" fmla="*/ 8675 h 1401"/>
                  <a:gd name="T36" fmla="*/ 709 w 1295"/>
                  <a:gd name="T37" fmla="*/ 8675 h 1401"/>
                  <a:gd name="T38" fmla="*/ 709 w 1295"/>
                  <a:gd name="T39" fmla="*/ 8675 h 1401"/>
                  <a:gd name="T40" fmla="*/ 709 w 1295"/>
                  <a:gd name="T41" fmla="*/ 8675 h 1401"/>
                  <a:gd name="T42" fmla="*/ 709 w 1295"/>
                  <a:gd name="T43" fmla="*/ 8675 h 1401"/>
                  <a:gd name="T44" fmla="*/ 709 w 1295"/>
                  <a:gd name="T45" fmla="*/ 8675 h 1401"/>
                  <a:gd name="T46" fmla="*/ 709 w 1295"/>
                  <a:gd name="T47" fmla="*/ 8675 h 1401"/>
                  <a:gd name="T48" fmla="*/ 709 w 1295"/>
                  <a:gd name="T49" fmla="*/ 8675 h 1401"/>
                  <a:gd name="T50" fmla="*/ 709 w 1295"/>
                  <a:gd name="T51" fmla="*/ 8675 h 1401"/>
                  <a:gd name="T52" fmla="*/ 709 w 1295"/>
                  <a:gd name="T53" fmla="*/ 8675 h 1401"/>
                  <a:gd name="T54" fmla="*/ 709 w 1295"/>
                  <a:gd name="T55" fmla="*/ 8675 h 1401"/>
                  <a:gd name="T56" fmla="*/ 709 w 1295"/>
                  <a:gd name="T57" fmla="*/ 8675 h 1401"/>
                  <a:gd name="T58" fmla="*/ 709 w 1295"/>
                  <a:gd name="T59" fmla="*/ 8675 h 1401"/>
                  <a:gd name="T60" fmla="*/ 709 w 1295"/>
                  <a:gd name="T61" fmla="*/ 8675 h 1401"/>
                  <a:gd name="T62" fmla="*/ 709 w 1295"/>
                  <a:gd name="T63" fmla="*/ 8675 h 1401"/>
                  <a:gd name="T64" fmla="*/ 709 w 1295"/>
                  <a:gd name="T65" fmla="*/ 8675 h 1401"/>
                  <a:gd name="T66" fmla="*/ 709 w 1295"/>
                  <a:gd name="T67" fmla="*/ 8675 h 1401"/>
                  <a:gd name="T68" fmla="*/ 709 w 1295"/>
                  <a:gd name="T69" fmla="*/ 8675 h 1401"/>
                  <a:gd name="T70" fmla="*/ 709 w 1295"/>
                  <a:gd name="T71" fmla="*/ 8675 h 1401"/>
                  <a:gd name="T72" fmla="*/ 709 w 1295"/>
                  <a:gd name="T73" fmla="*/ 8675 h 1401"/>
                  <a:gd name="T74" fmla="*/ 709 w 1295"/>
                  <a:gd name="T75" fmla="*/ 8675 h 1401"/>
                  <a:gd name="T76" fmla="*/ 709 w 1295"/>
                  <a:gd name="T77" fmla="*/ 8675 h 1401"/>
                  <a:gd name="T78" fmla="*/ 709 w 1295"/>
                  <a:gd name="T79" fmla="*/ 8675 h 1401"/>
                  <a:gd name="T80" fmla="*/ 709 w 1295"/>
                  <a:gd name="T81" fmla="*/ 8675 h 1401"/>
                  <a:gd name="T82" fmla="*/ 709 w 1295"/>
                  <a:gd name="T83" fmla="*/ 8675 h 1401"/>
                  <a:gd name="T84" fmla="*/ 709 w 1295"/>
                  <a:gd name="T85" fmla="*/ 8675 h 1401"/>
                  <a:gd name="T86" fmla="*/ 709 w 1295"/>
                  <a:gd name="T87" fmla="*/ 8675 h 140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295" h="1401">
                    <a:moveTo>
                      <a:pt x="65" y="459"/>
                    </a:moveTo>
                    <a:lnTo>
                      <a:pt x="65" y="407"/>
                    </a:lnTo>
                    <a:lnTo>
                      <a:pt x="32" y="395"/>
                    </a:lnTo>
                    <a:lnTo>
                      <a:pt x="12" y="372"/>
                    </a:lnTo>
                    <a:lnTo>
                      <a:pt x="12" y="330"/>
                    </a:lnTo>
                    <a:lnTo>
                      <a:pt x="0" y="288"/>
                    </a:lnTo>
                    <a:lnTo>
                      <a:pt x="32" y="203"/>
                    </a:lnTo>
                    <a:lnTo>
                      <a:pt x="42" y="138"/>
                    </a:lnTo>
                    <a:lnTo>
                      <a:pt x="139" y="138"/>
                    </a:lnTo>
                    <a:lnTo>
                      <a:pt x="161" y="95"/>
                    </a:lnTo>
                    <a:lnTo>
                      <a:pt x="203" y="84"/>
                    </a:lnTo>
                    <a:lnTo>
                      <a:pt x="223" y="126"/>
                    </a:lnTo>
                    <a:lnTo>
                      <a:pt x="257" y="149"/>
                    </a:lnTo>
                    <a:lnTo>
                      <a:pt x="277" y="107"/>
                    </a:lnTo>
                    <a:lnTo>
                      <a:pt x="300" y="84"/>
                    </a:lnTo>
                    <a:lnTo>
                      <a:pt x="372" y="107"/>
                    </a:lnTo>
                    <a:lnTo>
                      <a:pt x="372" y="62"/>
                    </a:lnTo>
                    <a:lnTo>
                      <a:pt x="407" y="19"/>
                    </a:lnTo>
                    <a:lnTo>
                      <a:pt x="438" y="30"/>
                    </a:lnTo>
                    <a:lnTo>
                      <a:pt x="514" y="10"/>
                    </a:lnTo>
                    <a:lnTo>
                      <a:pt x="545" y="10"/>
                    </a:lnTo>
                    <a:lnTo>
                      <a:pt x="588" y="0"/>
                    </a:lnTo>
                    <a:lnTo>
                      <a:pt x="600" y="42"/>
                    </a:lnTo>
                    <a:lnTo>
                      <a:pt x="664" y="72"/>
                    </a:lnTo>
                    <a:lnTo>
                      <a:pt x="749" y="95"/>
                    </a:lnTo>
                    <a:lnTo>
                      <a:pt x="737" y="107"/>
                    </a:lnTo>
                    <a:lnTo>
                      <a:pt x="737" y="149"/>
                    </a:lnTo>
                    <a:lnTo>
                      <a:pt x="749" y="203"/>
                    </a:lnTo>
                    <a:lnTo>
                      <a:pt x="771" y="223"/>
                    </a:lnTo>
                    <a:lnTo>
                      <a:pt x="749" y="233"/>
                    </a:lnTo>
                    <a:lnTo>
                      <a:pt x="749" y="245"/>
                    </a:lnTo>
                    <a:lnTo>
                      <a:pt x="684" y="211"/>
                    </a:lnTo>
                    <a:lnTo>
                      <a:pt x="630" y="245"/>
                    </a:lnTo>
                    <a:lnTo>
                      <a:pt x="588" y="245"/>
                    </a:lnTo>
                    <a:lnTo>
                      <a:pt x="580" y="298"/>
                    </a:lnTo>
                    <a:lnTo>
                      <a:pt x="600" y="330"/>
                    </a:lnTo>
                    <a:lnTo>
                      <a:pt x="580" y="384"/>
                    </a:lnTo>
                    <a:lnTo>
                      <a:pt x="588" y="437"/>
                    </a:lnTo>
                    <a:lnTo>
                      <a:pt x="630" y="479"/>
                    </a:lnTo>
                    <a:lnTo>
                      <a:pt x="737" y="564"/>
                    </a:lnTo>
                    <a:lnTo>
                      <a:pt x="761" y="630"/>
                    </a:lnTo>
                    <a:lnTo>
                      <a:pt x="771" y="695"/>
                    </a:lnTo>
                    <a:lnTo>
                      <a:pt x="791" y="725"/>
                    </a:lnTo>
                    <a:lnTo>
                      <a:pt x="921" y="802"/>
                    </a:lnTo>
                    <a:lnTo>
                      <a:pt x="1017" y="802"/>
                    </a:lnTo>
                    <a:lnTo>
                      <a:pt x="984" y="856"/>
                    </a:lnTo>
                    <a:lnTo>
                      <a:pt x="1114" y="918"/>
                    </a:lnTo>
                    <a:lnTo>
                      <a:pt x="1230" y="983"/>
                    </a:lnTo>
                    <a:lnTo>
                      <a:pt x="1295" y="1048"/>
                    </a:lnTo>
                    <a:lnTo>
                      <a:pt x="1283" y="1102"/>
                    </a:lnTo>
                    <a:lnTo>
                      <a:pt x="1240" y="1090"/>
                    </a:lnTo>
                    <a:lnTo>
                      <a:pt x="1230" y="1037"/>
                    </a:lnTo>
                    <a:lnTo>
                      <a:pt x="1168" y="1025"/>
                    </a:lnTo>
                    <a:lnTo>
                      <a:pt x="1114" y="1005"/>
                    </a:lnTo>
                    <a:lnTo>
                      <a:pt x="1091" y="1060"/>
                    </a:lnTo>
                    <a:lnTo>
                      <a:pt x="1071" y="1132"/>
                    </a:lnTo>
                    <a:lnTo>
                      <a:pt x="1133" y="1164"/>
                    </a:lnTo>
                    <a:lnTo>
                      <a:pt x="1133" y="1229"/>
                    </a:lnTo>
                    <a:lnTo>
                      <a:pt x="1071" y="1263"/>
                    </a:lnTo>
                    <a:lnTo>
                      <a:pt x="1079" y="1325"/>
                    </a:lnTo>
                    <a:lnTo>
                      <a:pt x="1037" y="1356"/>
                    </a:lnTo>
                    <a:lnTo>
                      <a:pt x="1017" y="1401"/>
                    </a:lnTo>
                    <a:lnTo>
                      <a:pt x="972" y="1401"/>
                    </a:lnTo>
                    <a:lnTo>
                      <a:pt x="972" y="1356"/>
                    </a:lnTo>
                    <a:lnTo>
                      <a:pt x="995" y="1293"/>
                    </a:lnTo>
                    <a:lnTo>
                      <a:pt x="1029" y="1263"/>
                    </a:lnTo>
                    <a:lnTo>
                      <a:pt x="1017" y="1197"/>
                    </a:lnTo>
                    <a:lnTo>
                      <a:pt x="984" y="1132"/>
                    </a:lnTo>
                    <a:lnTo>
                      <a:pt x="972" y="1079"/>
                    </a:lnTo>
                    <a:lnTo>
                      <a:pt x="888" y="1060"/>
                    </a:lnTo>
                    <a:lnTo>
                      <a:pt x="868" y="993"/>
                    </a:lnTo>
                    <a:lnTo>
                      <a:pt x="823" y="983"/>
                    </a:lnTo>
                    <a:lnTo>
                      <a:pt x="771" y="941"/>
                    </a:lnTo>
                    <a:lnTo>
                      <a:pt x="726" y="898"/>
                    </a:lnTo>
                    <a:lnTo>
                      <a:pt x="652" y="886"/>
                    </a:lnTo>
                    <a:lnTo>
                      <a:pt x="588" y="856"/>
                    </a:lnTo>
                    <a:lnTo>
                      <a:pt x="491" y="715"/>
                    </a:lnTo>
                    <a:lnTo>
                      <a:pt x="438" y="715"/>
                    </a:lnTo>
                    <a:lnTo>
                      <a:pt x="429" y="660"/>
                    </a:lnTo>
                    <a:lnTo>
                      <a:pt x="372" y="598"/>
                    </a:lnTo>
                    <a:lnTo>
                      <a:pt x="353" y="533"/>
                    </a:lnTo>
                    <a:lnTo>
                      <a:pt x="353" y="459"/>
                    </a:lnTo>
                    <a:lnTo>
                      <a:pt x="288" y="437"/>
                    </a:lnTo>
                    <a:lnTo>
                      <a:pt x="246" y="415"/>
                    </a:lnTo>
                    <a:lnTo>
                      <a:pt x="193" y="395"/>
                    </a:lnTo>
                    <a:lnTo>
                      <a:pt x="149" y="415"/>
                    </a:lnTo>
                    <a:lnTo>
                      <a:pt x="119" y="459"/>
                    </a:lnTo>
                    <a:lnTo>
                      <a:pt x="65" y="459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8" name="Freeform 52"/>
              <p:cNvSpPr>
                <a:spLocks/>
              </p:cNvSpPr>
              <p:nvPr/>
            </p:nvSpPr>
            <p:spPr bwMode="auto">
              <a:xfrm>
                <a:off x="4128381" y="3532360"/>
                <a:ext cx="157446" cy="295275"/>
              </a:xfrm>
              <a:custGeom>
                <a:avLst/>
                <a:gdLst>
                  <a:gd name="T0" fmla="*/ 0 w 214"/>
                  <a:gd name="T1" fmla="*/ 8574 h 452"/>
                  <a:gd name="T2" fmla="*/ 621 w 214"/>
                  <a:gd name="T3" fmla="*/ 8574 h 452"/>
                  <a:gd name="T4" fmla="*/ 621 w 214"/>
                  <a:gd name="T5" fmla="*/ 8574 h 452"/>
                  <a:gd name="T6" fmla="*/ 621 w 214"/>
                  <a:gd name="T7" fmla="*/ 0 h 452"/>
                  <a:gd name="T8" fmla="*/ 621 w 214"/>
                  <a:gd name="T9" fmla="*/ 0 h 452"/>
                  <a:gd name="T10" fmla="*/ 621 w 214"/>
                  <a:gd name="T11" fmla="*/ 8574 h 452"/>
                  <a:gd name="T12" fmla="*/ 621 w 214"/>
                  <a:gd name="T13" fmla="*/ 8574 h 452"/>
                  <a:gd name="T14" fmla="*/ 621 w 214"/>
                  <a:gd name="T15" fmla="*/ 8574 h 452"/>
                  <a:gd name="T16" fmla="*/ 621 w 214"/>
                  <a:gd name="T17" fmla="*/ 8574 h 452"/>
                  <a:gd name="T18" fmla="*/ 621 w 214"/>
                  <a:gd name="T19" fmla="*/ 8574 h 452"/>
                  <a:gd name="T20" fmla="*/ 621 w 214"/>
                  <a:gd name="T21" fmla="*/ 8574 h 452"/>
                  <a:gd name="T22" fmla="*/ 621 w 214"/>
                  <a:gd name="T23" fmla="*/ 8574 h 452"/>
                  <a:gd name="T24" fmla="*/ 621 w 214"/>
                  <a:gd name="T25" fmla="*/ 8574 h 452"/>
                  <a:gd name="T26" fmla="*/ 621 w 214"/>
                  <a:gd name="T27" fmla="*/ 8574 h 452"/>
                  <a:gd name="T28" fmla="*/ 621 w 214"/>
                  <a:gd name="T29" fmla="*/ 8574 h 452"/>
                  <a:gd name="T30" fmla="*/ 621 w 214"/>
                  <a:gd name="T31" fmla="*/ 8574 h 452"/>
                  <a:gd name="T32" fmla="*/ 621 w 214"/>
                  <a:gd name="T33" fmla="*/ 8574 h 452"/>
                  <a:gd name="T34" fmla="*/ 621 w 214"/>
                  <a:gd name="T35" fmla="*/ 8574 h 452"/>
                  <a:gd name="T36" fmla="*/ 621 w 214"/>
                  <a:gd name="T37" fmla="*/ 8574 h 452"/>
                  <a:gd name="T38" fmla="*/ 621 w 214"/>
                  <a:gd name="T39" fmla="*/ 8574 h 452"/>
                  <a:gd name="T40" fmla="*/ 0 w 214"/>
                  <a:gd name="T41" fmla="*/ 8574 h 45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214" h="452">
                    <a:moveTo>
                      <a:pt x="0" y="119"/>
                    </a:moveTo>
                    <a:lnTo>
                      <a:pt x="11" y="88"/>
                    </a:lnTo>
                    <a:lnTo>
                      <a:pt x="11" y="35"/>
                    </a:lnTo>
                    <a:lnTo>
                      <a:pt x="30" y="0"/>
                    </a:lnTo>
                    <a:lnTo>
                      <a:pt x="53" y="0"/>
                    </a:lnTo>
                    <a:lnTo>
                      <a:pt x="85" y="12"/>
                    </a:lnTo>
                    <a:lnTo>
                      <a:pt x="118" y="45"/>
                    </a:lnTo>
                    <a:lnTo>
                      <a:pt x="137" y="99"/>
                    </a:lnTo>
                    <a:lnTo>
                      <a:pt x="137" y="119"/>
                    </a:lnTo>
                    <a:lnTo>
                      <a:pt x="137" y="184"/>
                    </a:lnTo>
                    <a:lnTo>
                      <a:pt x="161" y="226"/>
                    </a:lnTo>
                    <a:lnTo>
                      <a:pt x="203" y="258"/>
                    </a:lnTo>
                    <a:lnTo>
                      <a:pt x="214" y="311"/>
                    </a:lnTo>
                    <a:lnTo>
                      <a:pt x="149" y="419"/>
                    </a:lnTo>
                    <a:lnTo>
                      <a:pt x="118" y="452"/>
                    </a:lnTo>
                    <a:lnTo>
                      <a:pt x="107" y="452"/>
                    </a:lnTo>
                    <a:lnTo>
                      <a:pt x="65" y="407"/>
                    </a:lnTo>
                    <a:lnTo>
                      <a:pt x="11" y="365"/>
                    </a:lnTo>
                    <a:lnTo>
                      <a:pt x="11" y="291"/>
                    </a:lnTo>
                    <a:lnTo>
                      <a:pt x="22" y="142"/>
                    </a:lnTo>
                    <a:lnTo>
                      <a:pt x="0" y="119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69" name="Freeform 53"/>
              <p:cNvSpPr>
                <a:spLocks/>
              </p:cNvSpPr>
              <p:nvPr/>
            </p:nvSpPr>
            <p:spPr bwMode="auto">
              <a:xfrm>
                <a:off x="4210339" y="3560935"/>
                <a:ext cx="534884" cy="441325"/>
              </a:xfrm>
              <a:custGeom>
                <a:avLst/>
                <a:gdLst>
                  <a:gd name="T0" fmla="*/ 621 w 727"/>
                  <a:gd name="T1" fmla="*/ 9043 h 673"/>
                  <a:gd name="T2" fmla="*/ 621 w 727"/>
                  <a:gd name="T3" fmla="*/ 9043 h 673"/>
                  <a:gd name="T4" fmla="*/ 621 w 727"/>
                  <a:gd name="T5" fmla="*/ 9043 h 673"/>
                  <a:gd name="T6" fmla="*/ 621 w 727"/>
                  <a:gd name="T7" fmla="*/ 9043 h 673"/>
                  <a:gd name="T8" fmla="*/ 621 w 727"/>
                  <a:gd name="T9" fmla="*/ 9043 h 673"/>
                  <a:gd name="T10" fmla="*/ 621 w 727"/>
                  <a:gd name="T11" fmla="*/ 9043 h 673"/>
                  <a:gd name="T12" fmla="*/ 621 w 727"/>
                  <a:gd name="T13" fmla="*/ 9043 h 673"/>
                  <a:gd name="T14" fmla="*/ 621 w 727"/>
                  <a:gd name="T15" fmla="*/ 0 h 673"/>
                  <a:gd name="T16" fmla="*/ 621 w 727"/>
                  <a:gd name="T17" fmla="*/ 9043 h 673"/>
                  <a:gd name="T18" fmla="*/ 621 w 727"/>
                  <a:gd name="T19" fmla="*/ 9043 h 673"/>
                  <a:gd name="T20" fmla="*/ 621 w 727"/>
                  <a:gd name="T21" fmla="*/ 9043 h 673"/>
                  <a:gd name="T22" fmla="*/ 621 w 727"/>
                  <a:gd name="T23" fmla="*/ 9043 h 673"/>
                  <a:gd name="T24" fmla="*/ 621 w 727"/>
                  <a:gd name="T25" fmla="*/ 9043 h 673"/>
                  <a:gd name="T26" fmla="*/ 621 w 727"/>
                  <a:gd name="T27" fmla="*/ 9043 h 673"/>
                  <a:gd name="T28" fmla="*/ 621 w 727"/>
                  <a:gd name="T29" fmla="*/ 9043 h 673"/>
                  <a:gd name="T30" fmla="*/ 621 w 727"/>
                  <a:gd name="T31" fmla="*/ 9043 h 673"/>
                  <a:gd name="T32" fmla="*/ 621 w 727"/>
                  <a:gd name="T33" fmla="*/ 9043 h 673"/>
                  <a:gd name="T34" fmla="*/ 621 w 727"/>
                  <a:gd name="T35" fmla="*/ 9043 h 673"/>
                  <a:gd name="T36" fmla="*/ 621 w 727"/>
                  <a:gd name="T37" fmla="*/ 9043 h 673"/>
                  <a:gd name="T38" fmla="*/ 621 w 727"/>
                  <a:gd name="T39" fmla="*/ 9043 h 673"/>
                  <a:gd name="T40" fmla="*/ 621 w 727"/>
                  <a:gd name="T41" fmla="*/ 9043 h 673"/>
                  <a:gd name="T42" fmla="*/ 621 w 727"/>
                  <a:gd name="T43" fmla="*/ 9043 h 673"/>
                  <a:gd name="T44" fmla="*/ 621 w 727"/>
                  <a:gd name="T45" fmla="*/ 9043 h 673"/>
                  <a:gd name="T46" fmla="*/ 621 w 727"/>
                  <a:gd name="T47" fmla="*/ 9043 h 673"/>
                  <a:gd name="T48" fmla="*/ 621 w 727"/>
                  <a:gd name="T49" fmla="*/ 9043 h 673"/>
                  <a:gd name="T50" fmla="*/ 621 w 727"/>
                  <a:gd name="T51" fmla="*/ 9043 h 673"/>
                  <a:gd name="T52" fmla="*/ 621 w 727"/>
                  <a:gd name="T53" fmla="*/ 9043 h 673"/>
                  <a:gd name="T54" fmla="*/ 621 w 727"/>
                  <a:gd name="T55" fmla="*/ 9043 h 673"/>
                  <a:gd name="T56" fmla="*/ 621 w 727"/>
                  <a:gd name="T57" fmla="*/ 9043 h 673"/>
                  <a:gd name="T58" fmla="*/ 621 w 727"/>
                  <a:gd name="T59" fmla="*/ 9043 h 673"/>
                  <a:gd name="T60" fmla="*/ 621 w 727"/>
                  <a:gd name="T61" fmla="*/ 9043 h 673"/>
                  <a:gd name="T62" fmla="*/ 621 w 727"/>
                  <a:gd name="T63" fmla="*/ 9043 h 673"/>
                  <a:gd name="T64" fmla="*/ 621 w 727"/>
                  <a:gd name="T65" fmla="*/ 9043 h 673"/>
                  <a:gd name="T66" fmla="*/ 621 w 727"/>
                  <a:gd name="T67" fmla="*/ 9043 h 673"/>
                  <a:gd name="T68" fmla="*/ 621 w 727"/>
                  <a:gd name="T69" fmla="*/ 9043 h 673"/>
                  <a:gd name="T70" fmla="*/ 621 w 727"/>
                  <a:gd name="T71" fmla="*/ 9043 h 673"/>
                  <a:gd name="T72" fmla="*/ 0 w 727"/>
                  <a:gd name="T73" fmla="*/ 9043 h 673"/>
                  <a:gd name="T74" fmla="*/ 621 w 727"/>
                  <a:gd name="T75" fmla="*/ 9043 h 673"/>
                  <a:gd name="T76" fmla="*/ 621 w 727"/>
                  <a:gd name="T77" fmla="*/ 9043 h 673"/>
                  <a:gd name="T78" fmla="*/ 621 w 727"/>
                  <a:gd name="T79" fmla="*/ 9043 h 673"/>
                  <a:gd name="T80" fmla="*/ 621 w 727"/>
                  <a:gd name="T81" fmla="*/ 9043 h 673"/>
                  <a:gd name="T82" fmla="*/ 621 w 727"/>
                  <a:gd name="T83" fmla="*/ 9043 h 673"/>
                  <a:gd name="T84" fmla="*/ 621 w 727"/>
                  <a:gd name="T85" fmla="*/ 9043 h 673"/>
                  <a:gd name="T86" fmla="*/ 621 w 727"/>
                  <a:gd name="T87" fmla="*/ 9043 h 673"/>
                  <a:gd name="T88" fmla="*/ 621 w 727"/>
                  <a:gd name="T89" fmla="*/ 9043 h 6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727" h="673">
                    <a:moveTo>
                      <a:pt x="311" y="117"/>
                    </a:moveTo>
                    <a:lnTo>
                      <a:pt x="373" y="97"/>
                    </a:lnTo>
                    <a:lnTo>
                      <a:pt x="427" y="97"/>
                    </a:lnTo>
                    <a:lnTo>
                      <a:pt x="481" y="62"/>
                    </a:lnTo>
                    <a:lnTo>
                      <a:pt x="610" y="86"/>
                    </a:lnTo>
                    <a:lnTo>
                      <a:pt x="653" y="74"/>
                    </a:lnTo>
                    <a:lnTo>
                      <a:pt x="673" y="43"/>
                    </a:lnTo>
                    <a:lnTo>
                      <a:pt x="695" y="0"/>
                    </a:lnTo>
                    <a:lnTo>
                      <a:pt x="727" y="43"/>
                    </a:lnTo>
                    <a:lnTo>
                      <a:pt x="684" y="159"/>
                    </a:lnTo>
                    <a:lnTo>
                      <a:pt x="653" y="159"/>
                    </a:lnTo>
                    <a:lnTo>
                      <a:pt x="576" y="151"/>
                    </a:lnTo>
                    <a:lnTo>
                      <a:pt x="534" y="171"/>
                    </a:lnTo>
                    <a:lnTo>
                      <a:pt x="472" y="171"/>
                    </a:lnTo>
                    <a:lnTo>
                      <a:pt x="449" y="213"/>
                    </a:lnTo>
                    <a:lnTo>
                      <a:pt x="395" y="213"/>
                    </a:lnTo>
                    <a:lnTo>
                      <a:pt x="427" y="246"/>
                    </a:lnTo>
                    <a:lnTo>
                      <a:pt x="407" y="288"/>
                    </a:lnTo>
                    <a:lnTo>
                      <a:pt x="353" y="300"/>
                    </a:lnTo>
                    <a:lnTo>
                      <a:pt x="288" y="246"/>
                    </a:lnTo>
                    <a:lnTo>
                      <a:pt x="288" y="332"/>
                    </a:lnTo>
                    <a:lnTo>
                      <a:pt x="330" y="385"/>
                    </a:lnTo>
                    <a:lnTo>
                      <a:pt x="373" y="439"/>
                    </a:lnTo>
                    <a:lnTo>
                      <a:pt x="407" y="481"/>
                    </a:lnTo>
                    <a:lnTo>
                      <a:pt x="449" y="512"/>
                    </a:lnTo>
                    <a:lnTo>
                      <a:pt x="503" y="536"/>
                    </a:lnTo>
                    <a:lnTo>
                      <a:pt x="523" y="588"/>
                    </a:lnTo>
                    <a:lnTo>
                      <a:pt x="576" y="600"/>
                    </a:lnTo>
                    <a:lnTo>
                      <a:pt x="503" y="600"/>
                    </a:lnTo>
                    <a:lnTo>
                      <a:pt x="514" y="673"/>
                    </a:lnTo>
                    <a:lnTo>
                      <a:pt x="439" y="631"/>
                    </a:lnTo>
                    <a:lnTo>
                      <a:pt x="373" y="631"/>
                    </a:lnTo>
                    <a:lnTo>
                      <a:pt x="322" y="578"/>
                    </a:lnTo>
                    <a:lnTo>
                      <a:pt x="234" y="600"/>
                    </a:lnTo>
                    <a:lnTo>
                      <a:pt x="139" y="600"/>
                    </a:lnTo>
                    <a:lnTo>
                      <a:pt x="85" y="546"/>
                    </a:lnTo>
                    <a:lnTo>
                      <a:pt x="0" y="407"/>
                    </a:lnTo>
                    <a:lnTo>
                      <a:pt x="11" y="407"/>
                    </a:lnTo>
                    <a:lnTo>
                      <a:pt x="42" y="374"/>
                    </a:lnTo>
                    <a:lnTo>
                      <a:pt x="107" y="266"/>
                    </a:lnTo>
                    <a:lnTo>
                      <a:pt x="96" y="213"/>
                    </a:lnTo>
                    <a:lnTo>
                      <a:pt x="127" y="204"/>
                    </a:lnTo>
                    <a:lnTo>
                      <a:pt x="234" y="159"/>
                    </a:lnTo>
                    <a:lnTo>
                      <a:pt x="277" y="151"/>
                    </a:lnTo>
                    <a:lnTo>
                      <a:pt x="311" y="117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0" name="Freeform 55"/>
              <p:cNvSpPr>
                <a:spLocks/>
              </p:cNvSpPr>
              <p:nvPr/>
            </p:nvSpPr>
            <p:spPr bwMode="auto">
              <a:xfrm>
                <a:off x="4169360" y="2924348"/>
                <a:ext cx="750563" cy="469900"/>
              </a:xfrm>
              <a:custGeom>
                <a:avLst/>
                <a:gdLst>
                  <a:gd name="T0" fmla="*/ 648 w 1017"/>
                  <a:gd name="T1" fmla="*/ 8795 h 718"/>
                  <a:gd name="T2" fmla="*/ 648 w 1017"/>
                  <a:gd name="T3" fmla="*/ 8795 h 718"/>
                  <a:gd name="T4" fmla="*/ 648 w 1017"/>
                  <a:gd name="T5" fmla="*/ 8795 h 718"/>
                  <a:gd name="T6" fmla="*/ 648 w 1017"/>
                  <a:gd name="T7" fmla="*/ 8795 h 718"/>
                  <a:gd name="T8" fmla="*/ 648 w 1017"/>
                  <a:gd name="T9" fmla="*/ 8795 h 718"/>
                  <a:gd name="T10" fmla="*/ 648 w 1017"/>
                  <a:gd name="T11" fmla="*/ 8795 h 718"/>
                  <a:gd name="T12" fmla="*/ 648 w 1017"/>
                  <a:gd name="T13" fmla="*/ 8795 h 718"/>
                  <a:gd name="T14" fmla="*/ 648 w 1017"/>
                  <a:gd name="T15" fmla="*/ 8795 h 718"/>
                  <a:gd name="T16" fmla="*/ 648 w 1017"/>
                  <a:gd name="T17" fmla="*/ 8795 h 718"/>
                  <a:gd name="T18" fmla="*/ 648 w 1017"/>
                  <a:gd name="T19" fmla="*/ 8795 h 718"/>
                  <a:gd name="T20" fmla="*/ 648 w 1017"/>
                  <a:gd name="T21" fmla="*/ 8795 h 718"/>
                  <a:gd name="T22" fmla="*/ 648 w 1017"/>
                  <a:gd name="T23" fmla="*/ 8795 h 718"/>
                  <a:gd name="T24" fmla="*/ 648 w 1017"/>
                  <a:gd name="T25" fmla="*/ 8795 h 718"/>
                  <a:gd name="T26" fmla="*/ 648 w 1017"/>
                  <a:gd name="T27" fmla="*/ 8795 h 718"/>
                  <a:gd name="T28" fmla="*/ 648 w 1017"/>
                  <a:gd name="T29" fmla="*/ 0 h 718"/>
                  <a:gd name="T30" fmla="*/ 648 w 1017"/>
                  <a:gd name="T31" fmla="*/ 8795 h 718"/>
                  <a:gd name="T32" fmla="*/ 648 w 1017"/>
                  <a:gd name="T33" fmla="*/ 8795 h 718"/>
                  <a:gd name="T34" fmla="*/ 648 w 1017"/>
                  <a:gd name="T35" fmla="*/ 8795 h 718"/>
                  <a:gd name="T36" fmla="*/ 648 w 1017"/>
                  <a:gd name="T37" fmla="*/ 8795 h 718"/>
                  <a:gd name="T38" fmla="*/ 648 w 1017"/>
                  <a:gd name="T39" fmla="*/ 8795 h 718"/>
                  <a:gd name="T40" fmla="*/ 648 w 1017"/>
                  <a:gd name="T41" fmla="*/ 8795 h 718"/>
                  <a:gd name="T42" fmla="*/ 648 w 1017"/>
                  <a:gd name="T43" fmla="*/ 8795 h 718"/>
                  <a:gd name="T44" fmla="*/ 648 w 1017"/>
                  <a:gd name="T45" fmla="*/ 8795 h 718"/>
                  <a:gd name="T46" fmla="*/ 648 w 1017"/>
                  <a:gd name="T47" fmla="*/ 8795 h 718"/>
                  <a:gd name="T48" fmla="*/ 648 w 1017"/>
                  <a:gd name="T49" fmla="*/ 8795 h 718"/>
                  <a:gd name="T50" fmla="*/ 648 w 1017"/>
                  <a:gd name="T51" fmla="*/ 8795 h 718"/>
                  <a:gd name="T52" fmla="*/ 0 w 1017"/>
                  <a:gd name="T53" fmla="*/ 8795 h 718"/>
                  <a:gd name="T54" fmla="*/ 648 w 1017"/>
                  <a:gd name="T55" fmla="*/ 8795 h 718"/>
                  <a:gd name="T56" fmla="*/ 648 w 1017"/>
                  <a:gd name="T57" fmla="*/ 8795 h 718"/>
                  <a:gd name="T58" fmla="*/ 648 w 1017"/>
                  <a:gd name="T59" fmla="*/ 8795 h 718"/>
                  <a:gd name="T60" fmla="*/ 648 w 1017"/>
                  <a:gd name="T61" fmla="*/ 8795 h 718"/>
                  <a:gd name="T62" fmla="*/ 648 w 1017"/>
                  <a:gd name="T63" fmla="*/ 8795 h 718"/>
                  <a:gd name="T64" fmla="*/ 648 w 1017"/>
                  <a:gd name="T65" fmla="*/ 8795 h 718"/>
                  <a:gd name="T66" fmla="*/ 648 w 1017"/>
                  <a:gd name="T67" fmla="*/ 8795 h 718"/>
                  <a:gd name="T68" fmla="*/ 648 w 1017"/>
                  <a:gd name="T69" fmla="*/ 8795 h 718"/>
                  <a:gd name="T70" fmla="*/ 648 w 1017"/>
                  <a:gd name="T71" fmla="*/ 8795 h 718"/>
                  <a:gd name="T72" fmla="*/ 648 w 1017"/>
                  <a:gd name="T73" fmla="*/ 8795 h 718"/>
                  <a:gd name="T74" fmla="*/ 648 w 1017"/>
                  <a:gd name="T75" fmla="*/ 8795 h 718"/>
                  <a:gd name="T76" fmla="*/ 648 w 1017"/>
                  <a:gd name="T77" fmla="*/ 8795 h 718"/>
                  <a:gd name="T78" fmla="*/ 648 w 1017"/>
                  <a:gd name="T79" fmla="*/ 8795 h 718"/>
                  <a:gd name="T80" fmla="*/ 648 w 1017"/>
                  <a:gd name="T81" fmla="*/ 8795 h 718"/>
                  <a:gd name="T82" fmla="*/ 648 w 1017"/>
                  <a:gd name="T83" fmla="*/ 8795 h 718"/>
                  <a:gd name="T84" fmla="*/ 648 w 1017"/>
                  <a:gd name="T85" fmla="*/ 8795 h 718"/>
                  <a:gd name="T86" fmla="*/ 648 w 1017"/>
                  <a:gd name="T87" fmla="*/ 8795 h 718"/>
                  <a:gd name="T88" fmla="*/ 648 w 1017"/>
                  <a:gd name="T89" fmla="*/ 8795 h 718"/>
                  <a:gd name="T90" fmla="*/ 648 w 1017"/>
                  <a:gd name="T91" fmla="*/ 8795 h 718"/>
                  <a:gd name="T92" fmla="*/ 648 w 1017"/>
                  <a:gd name="T93" fmla="*/ 8795 h 718"/>
                  <a:gd name="T94" fmla="*/ 648 w 1017"/>
                  <a:gd name="T95" fmla="*/ 8795 h 718"/>
                  <a:gd name="T96" fmla="*/ 648 w 1017"/>
                  <a:gd name="T97" fmla="*/ 8795 h 718"/>
                  <a:gd name="T98" fmla="*/ 648 w 1017"/>
                  <a:gd name="T99" fmla="*/ 8795 h 718"/>
                  <a:gd name="T100" fmla="*/ 648 w 1017"/>
                  <a:gd name="T101" fmla="*/ 8795 h 718"/>
                  <a:gd name="T102" fmla="*/ 648 w 1017"/>
                  <a:gd name="T103" fmla="*/ 8795 h 718"/>
                  <a:gd name="T104" fmla="*/ 648 w 1017"/>
                  <a:gd name="T105" fmla="*/ 8795 h 718"/>
                  <a:gd name="T106" fmla="*/ 648 w 1017"/>
                  <a:gd name="T107" fmla="*/ 8795 h 71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1017" h="718">
                    <a:moveTo>
                      <a:pt x="1007" y="364"/>
                    </a:moveTo>
                    <a:lnTo>
                      <a:pt x="995" y="364"/>
                    </a:lnTo>
                    <a:lnTo>
                      <a:pt x="964" y="376"/>
                    </a:lnTo>
                    <a:lnTo>
                      <a:pt x="922" y="407"/>
                    </a:lnTo>
                    <a:lnTo>
                      <a:pt x="888" y="395"/>
                    </a:lnTo>
                    <a:lnTo>
                      <a:pt x="876" y="395"/>
                    </a:lnTo>
                    <a:lnTo>
                      <a:pt x="845" y="353"/>
                    </a:lnTo>
                    <a:lnTo>
                      <a:pt x="826" y="311"/>
                    </a:lnTo>
                    <a:lnTo>
                      <a:pt x="826" y="234"/>
                    </a:lnTo>
                    <a:lnTo>
                      <a:pt x="803" y="180"/>
                    </a:lnTo>
                    <a:lnTo>
                      <a:pt x="719" y="85"/>
                    </a:lnTo>
                    <a:lnTo>
                      <a:pt x="684" y="33"/>
                    </a:lnTo>
                    <a:lnTo>
                      <a:pt x="653" y="11"/>
                    </a:lnTo>
                    <a:lnTo>
                      <a:pt x="630" y="11"/>
                    </a:lnTo>
                    <a:lnTo>
                      <a:pt x="600" y="0"/>
                    </a:lnTo>
                    <a:lnTo>
                      <a:pt x="546" y="43"/>
                    </a:lnTo>
                    <a:lnTo>
                      <a:pt x="481" y="65"/>
                    </a:lnTo>
                    <a:lnTo>
                      <a:pt x="461" y="95"/>
                    </a:lnTo>
                    <a:lnTo>
                      <a:pt x="419" y="65"/>
                    </a:lnTo>
                    <a:lnTo>
                      <a:pt x="365" y="85"/>
                    </a:lnTo>
                    <a:lnTo>
                      <a:pt x="277" y="85"/>
                    </a:lnTo>
                    <a:lnTo>
                      <a:pt x="235" y="95"/>
                    </a:lnTo>
                    <a:lnTo>
                      <a:pt x="215" y="130"/>
                    </a:lnTo>
                    <a:lnTo>
                      <a:pt x="181" y="138"/>
                    </a:lnTo>
                    <a:lnTo>
                      <a:pt x="128" y="246"/>
                    </a:lnTo>
                    <a:lnTo>
                      <a:pt x="84" y="353"/>
                    </a:lnTo>
                    <a:lnTo>
                      <a:pt x="0" y="395"/>
                    </a:lnTo>
                    <a:lnTo>
                      <a:pt x="42" y="418"/>
                    </a:lnTo>
                    <a:lnTo>
                      <a:pt x="65" y="460"/>
                    </a:lnTo>
                    <a:lnTo>
                      <a:pt x="96" y="514"/>
                    </a:lnTo>
                    <a:lnTo>
                      <a:pt x="139" y="534"/>
                    </a:lnTo>
                    <a:lnTo>
                      <a:pt x="150" y="579"/>
                    </a:lnTo>
                    <a:lnTo>
                      <a:pt x="181" y="599"/>
                    </a:lnTo>
                    <a:lnTo>
                      <a:pt x="215" y="611"/>
                    </a:lnTo>
                    <a:lnTo>
                      <a:pt x="258" y="587"/>
                    </a:lnTo>
                    <a:lnTo>
                      <a:pt x="258" y="629"/>
                    </a:lnTo>
                    <a:lnTo>
                      <a:pt x="300" y="676"/>
                    </a:lnTo>
                    <a:lnTo>
                      <a:pt x="312" y="706"/>
                    </a:lnTo>
                    <a:lnTo>
                      <a:pt x="365" y="718"/>
                    </a:lnTo>
                    <a:lnTo>
                      <a:pt x="427" y="718"/>
                    </a:lnTo>
                    <a:lnTo>
                      <a:pt x="515" y="706"/>
                    </a:lnTo>
                    <a:lnTo>
                      <a:pt x="610" y="706"/>
                    </a:lnTo>
                    <a:lnTo>
                      <a:pt x="642" y="695"/>
                    </a:lnTo>
                    <a:lnTo>
                      <a:pt x="707" y="629"/>
                    </a:lnTo>
                    <a:lnTo>
                      <a:pt x="761" y="611"/>
                    </a:lnTo>
                    <a:lnTo>
                      <a:pt x="876" y="621"/>
                    </a:lnTo>
                    <a:lnTo>
                      <a:pt x="922" y="641"/>
                    </a:lnTo>
                    <a:lnTo>
                      <a:pt x="952" y="629"/>
                    </a:lnTo>
                    <a:lnTo>
                      <a:pt x="952" y="611"/>
                    </a:lnTo>
                    <a:lnTo>
                      <a:pt x="942" y="545"/>
                    </a:lnTo>
                    <a:lnTo>
                      <a:pt x="964" y="492"/>
                    </a:lnTo>
                    <a:lnTo>
                      <a:pt x="1017" y="460"/>
                    </a:lnTo>
                    <a:lnTo>
                      <a:pt x="1017" y="407"/>
                    </a:lnTo>
                    <a:lnTo>
                      <a:pt x="1007" y="364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1" name="Freeform 56"/>
              <p:cNvSpPr>
                <a:spLocks/>
              </p:cNvSpPr>
              <p:nvPr/>
            </p:nvSpPr>
            <p:spPr bwMode="auto">
              <a:xfrm>
                <a:off x="3843685" y="2941810"/>
                <a:ext cx="498218" cy="292100"/>
              </a:xfrm>
              <a:custGeom>
                <a:avLst/>
                <a:gdLst>
                  <a:gd name="T0" fmla="*/ 691 w 672"/>
                  <a:gd name="T1" fmla="*/ 8089 h 449"/>
                  <a:gd name="T2" fmla="*/ 691 w 672"/>
                  <a:gd name="T3" fmla="*/ 8089 h 449"/>
                  <a:gd name="T4" fmla="*/ 691 w 672"/>
                  <a:gd name="T5" fmla="*/ 8089 h 449"/>
                  <a:gd name="T6" fmla="*/ 691 w 672"/>
                  <a:gd name="T7" fmla="*/ 8089 h 449"/>
                  <a:gd name="T8" fmla="*/ 691 w 672"/>
                  <a:gd name="T9" fmla="*/ 8089 h 449"/>
                  <a:gd name="T10" fmla="*/ 691 w 672"/>
                  <a:gd name="T11" fmla="*/ 8089 h 449"/>
                  <a:gd name="T12" fmla="*/ 691 w 672"/>
                  <a:gd name="T13" fmla="*/ 8089 h 449"/>
                  <a:gd name="T14" fmla="*/ 691 w 672"/>
                  <a:gd name="T15" fmla="*/ 8089 h 449"/>
                  <a:gd name="T16" fmla="*/ 0 w 672"/>
                  <a:gd name="T17" fmla="*/ 8089 h 449"/>
                  <a:gd name="T18" fmla="*/ 691 w 672"/>
                  <a:gd name="T19" fmla="*/ 8089 h 449"/>
                  <a:gd name="T20" fmla="*/ 691 w 672"/>
                  <a:gd name="T21" fmla="*/ 8089 h 449"/>
                  <a:gd name="T22" fmla="*/ 691 w 672"/>
                  <a:gd name="T23" fmla="*/ 8089 h 449"/>
                  <a:gd name="T24" fmla="*/ 691 w 672"/>
                  <a:gd name="T25" fmla="*/ 8089 h 449"/>
                  <a:gd name="T26" fmla="*/ 691 w 672"/>
                  <a:gd name="T27" fmla="*/ 8089 h 449"/>
                  <a:gd name="T28" fmla="*/ 691 w 672"/>
                  <a:gd name="T29" fmla="*/ 8089 h 449"/>
                  <a:gd name="T30" fmla="*/ 691 w 672"/>
                  <a:gd name="T31" fmla="*/ 8089 h 449"/>
                  <a:gd name="T32" fmla="*/ 691 w 672"/>
                  <a:gd name="T33" fmla="*/ 8089 h 449"/>
                  <a:gd name="T34" fmla="*/ 691 w 672"/>
                  <a:gd name="T35" fmla="*/ 8089 h 449"/>
                  <a:gd name="T36" fmla="*/ 691 w 672"/>
                  <a:gd name="T37" fmla="*/ 8089 h 449"/>
                  <a:gd name="T38" fmla="*/ 691 w 672"/>
                  <a:gd name="T39" fmla="*/ 8089 h 449"/>
                  <a:gd name="T40" fmla="*/ 691 w 672"/>
                  <a:gd name="T41" fmla="*/ 8089 h 449"/>
                  <a:gd name="T42" fmla="*/ 691 w 672"/>
                  <a:gd name="T43" fmla="*/ 0 h 449"/>
                  <a:gd name="T44" fmla="*/ 691 w 672"/>
                  <a:gd name="T45" fmla="*/ 8089 h 449"/>
                  <a:gd name="T46" fmla="*/ 691 w 672"/>
                  <a:gd name="T47" fmla="*/ 8089 h 449"/>
                  <a:gd name="T48" fmla="*/ 691 w 672"/>
                  <a:gd name="T49" fmla="*/ 8089 h 449"/>
                  <a:gd name="T50" fmla="*/ 691 w 672"/>
                  <a:gd name="T51" fmla="*/ 8089 h 449"/>
                  <a:gd name="T52" fmla="*/ 691 w 672"/>
                  <a:gd name="T53" fmla="*/ 8089 h 449"/>
                  <a:gd name="T54" fmla="*/ 691 w 672"/>
                  <a:gd name="T55" fmla="*/ 8089 h 449"/>
                  <a:gd name="T56" fmla="*/ 691 w 672"/>
                  <a:gd name="T57" fmla="*/ 8089 h 449"/>
                  <a:gd name="T58" fmla="*/ 691 w 672"/>
                  <a:gd name="T59" fmla="*/ 8089 h 449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672" h="449">
                    <a:moveTo>
                      <a:pt x="437" y="372"/>
                    </a:moveTo>
                    <a:lnTo>
                      <a:pt x="414" y="364"/>
                    </a:lnTo>
                    <a:lnTo>
                      <a:pt x="372" y="372"/>
                    </a:lnTo>
                    <a:lnTo>
                      <a:pt x="276" y="415"/>
                    </a:lnTo>
                    <a:lnTo>
                      <a:pt x="223" y="437"/>
                    </a:lnTo>
                    <a:lnTo>
                      <a:pt x="191" y="449"/>
                    </a:lnTo>
                    <a:lnTo>
                      <a:pt x="115" y="395"/>
                    </a:lnTo>
                    <a:lnTo>
                      <a:pt x="22" y="298"/>
                    </a:lnTo>
                    <a:lnTo>
                      <a:pt x="0" y="276"/>
                    </a:lnTo>
                    <a:lnTo>
                      <a:pt x="30" y="256"/>
                    </a:lnTo>
                    <a:lnTo>
                      <a:pt x="30" y="211"/>
                    </a:lnTo>
                    <a:lnTo>
                      <a:pt x="64" y="149"/>
                    </a:lnTo>
                    <a:lnTo>
                      <a:pt x="95" y="149"/>
                    </a:lnTo>
                    <a:lnTo>
                      <a:pt x="95" y="95"/>
                    </a:lnTo>
                    <a:lnTo>
                      <a:pt x="161" y="137"/>
                    </a:lnTo>
                    <a:lnTo>
                      <a:pt x="191" y="137"/>
                    </a:lnTo>
                    <a:lnTo>
                      <a:pt x="223" y="137"/>
                    </a:lnTo>
                    <a:lnTo>
                      <a:pt x="352" y="62"/>
                    </a:lnTo>
                    <a:lnTo>
                      <a:pt x="406" y="53"/>
                    </a:lnTo>
                    <a:lnTo>
                      <a:pt x="426" y="30"/>
                    </a:lnTo>
                    <a:lnTo>
                      <a:pt x="459" y="10"/>
                    </a:lnTo>
                    <a:lnTo>
                      <a:pt x="514" y="0"/>
                    </a:lnTo>
                    <a:lnTo>
                      <a:pt x="598" y="20"/>
                    </a:lnTo>
                    <a:lnTo>
                      <a:pt x="652" y="42"/>
                    </a:lnTo>
                    <a:lnTo>
                      <a:pt x="672" y="72"/>
                    </a:lnTo>
                    <a:lnTo>
                      <a:pt x="652" y="107"/>
                    </a:lnTo>
                    <a:lnTo>
                      <a:pt x="618" y="115"/>
                    </a:lnTo>
                    <a:lnTo>
                      <a:pt x="565" y="223"/>
                    </a:lnTo>
                    <a:lnTo>
                      <a:pt x="521" y="330"/>
                    </a:lnTo>
                    <a:lnTo>
                      <a:pt x="437" y="372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2" name="Freeform 57"/>
              <p:cNvSpPr>
                <a:spLocks/>
              </p:cNvSpPr>
              <p:nvPr/>
            </p:nvSpPr>
            <p:spPr bwMode="auto">
              <a:xfrm>
                <a:off x="3209589" y="690735"/>
                <a:ext cx="1188391" cy="1312863"/>
              </a:xfrm>
              <a:custGeom>
                <a:avLst/>
                <a:gdLst>
                  <a:gd name="T0" fmla="*/ 667 w 1607"/>
                  <a:gd name="T1" fmla="*/ 8437 h 2012"/>
                  <a:gd name="T2" fmla="*/ 667 w 1607"/>
                  <a:gd name="T3" fmla="*/ 8437 h 2012"/>
                  <a:gd name="T4" fmla="*/ 667 w 1607"/>
                  <a:gd name="T5" fmla="*/ 8437 h 2012"/>
                  <a:gd name="T6" fmla="*/ 667 w 1607"/>
                  <a:gd name="T7" fmla="*/ 8437 h 2012"/>
                  <a:gd name="T8" fmla="*/ 667 w 1607"/>
                  <a:gd name="T9" fmla="*/ 8437 h 2012"/>
                  <a:gd name="T10" fmla="*/ 667 w 1607"/>
                  <a:gd name="T11" fmla="*/ 8437 h 2012"/>
                  <a:gd name="T12" fmla="*/ 667 w 1607"/>
                  <a:gd name="T13" fmla="*/ 8437 h 2012"/>
                  <a:gd name="T14" fmla="*/ 667 w 1607"/>
                  <a:gd name="T15" fmla="*/ 8437 h 2012"/>
                  <a:gd name="T16" fmla="*/ 667 w 1607"/>
                  <a:gd name="T17" fmla="*/ 8437 h 2012"/>
                  <a:gd name="T18" fmla="*/ 667 w 1607"/>
                  <a:gd name="T19" fmla="*/ 8437 h 2012"/>
                  <a:gd name="T20" fmla="*/ 667 w 1607"/>
                  <a:gd name="T21" fmla="*/ 8437 h 2012"/>
                  <a:gd name="T22" fmla="*/ 667 w 1607"/>
                  <a:gd name="T23" fmla="*/ 8437 h 2012"/>
                  <a:gd name="T24" fmla="*/ 667 w 1607"/>
                  <a:gd name="T25" fmla="*/ 8437 h 2012"/>
                  <a:gd name="T26" fmla="*/ 667 w 1607"/>
                  <a:gd name="T27" fmla="*/ 8437 h 2012"/>
                  <a:gd name="T28" fmla="*/ 667 w 1607"/>
                  <a:gd name="T29" fmla="*/ 8437 h 2012"/>
                  <a:gd name="T30" fmla="*/ 667 w 1607"/>
                  <a:gd name="T31" fmla="*/ 8437 h 2012"/>
                  <a:gd name="T32" fmla="*/ 667 w 1607"/>
                  <a:gd name="T33" fmla="*/ 8437 h 2012"/>
                  <a:gd name="T34" fmla="*/ 667 w 1607"/>
                  <a:gd name="T35" fmla="*/ 8437 h 2012"/>
                  <a:gd name="T36" fmla="*/ 667 w 1607"/>
                  <a:gd name="T37" fmla="*/ 8437 h 2012"/>
                  <a:gd name="T38" fmla="*/ 667 w 1607"/>
                  <a:gd name="T39" fmla="*/ 8437 h 2012"/>
                  <a:gd name="T40" fmla="*/ 667 w 1607"/>
                  <a:gd name="T41" fmla="*/ 8437 h 2012"/>
                  <a:gd name="T42" fmla="*/ 667 w 1607"/>
                  <a:gd name="T43" fmla="*/ 8437 h 2012"/>
                  <a:gd name="T44" fmla="*/ 667 w 1607"/>
                  <a:gd name="T45" fmla="*/ 8437 h 2012"/>
                  <a:gd name="T46" fmla="*/ 667 w 1607"/>
                  <a:gd name="T47" fmla="*/ 8437 h 2012"/>
                  <a:gd name="T48" fmla="*/ 667 w 1607"/>
                  <a:gd name="T49" fmla="*/ 0 h 2012"/>
                  <a:gd name="T50" fmla="*/ 667 w 1607"/>
                  <a:gd name="T51" fmla="*/ 8437 h 2012"/>
                  <a:gd name="T52" fmla="*/ 667 w 1607"/>
                  <a:gd name="T53" fmla="*/ 8437 h 2012"/>
                  <a:gd name="T54" fmla="*/ 667 w 1607"/>
                  <a:gd name="T55" fmla="*/ 8437 h 2012"/>
                  <a:gd name="T56" fmla="*/ 667 w 1607"/>
                  <a:gd name="T57" fmla="*/ 8437 h 2012"/>
                  <a:gd name="T58" fmla="*/ 667 w 1607"/>
                  <a:gd name="T59" fmla="*/ 8437 h 2012"/>
                  <a:gd name="T60" fmla="*/ 667 w 1607"/>
                  <a:gd name="T61" fmla="*/ 8437 h 2012"/>
                  <a:gd name="T62" fmla="*/ 667 w 1607"/>
                  <a:gd name="T63" fmla="*/ 8437 h 2012"/>
                  <a:gd name="T64" fmla="*/ 667 w 1607"/>
                  <a:gd name="T65" fmla="*/ 8437 h 2012"/>
                  <a:gd name="T66" fmla="*/ 667 w 1607"/>
                  <a:gd name="T67" fmla="*/ 8437 h 2012"/>
                  <a:gd name="T68" fmla="*/ 667 w 1607"/>
                  <a:gd name="T69" fmla="*/ 8437 h 2012"/>
                  <a:gd name="T70" fmla="*/ 667 w 1607"/>
                  <a:gd name="T71" fmla="*/ 8437 h 2012"/>
                  <a:gd name="T72" fmla="*/ 667 w 1607"/>
                  <a:gd name="T73" fmla="*/ 8437 h 2012"/>
                  <a:gd name="T74" fmla="*/ 667 w 1607"/>
                  <a:gd name="T75" fmla="*/ 8437 h 2012"/>
                  <a:gd name="T76" fmla="*/ 0 w 1607"/>
                  <a:gd name="T77" fmla="*/ 8437 h 2012"/>
                  <a:gd name="T78" fmla="*/ 0 w 1607"/>
                  <a:gd name="T79" fmla="*/ 8437 h 2012"/>
                  <a:gd name="T80" fmla="*/ 667 w 1607"/>
                  <a:gd name="T81" fmla="*/ 8437 h 2012"/>
                  <a:gd name="T82" fmla="*/ 667 w 1607"/>
                  <a:gd name="T83" fmla="*/ 8437 h 2012"/>
                  <a:gd name="T84" fmla="*/ 667 w 1607"/>
                  <a:gd name="T85" fmla="*/ 8437 h 2012"/>
                  <a:gd name="T86" fmla="*/ 667 w 1607"/>
                  <a:gd name="T87" fmla="*/ 8437 h 2012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1607" h="2012">
                    <a:moveTo>
                      <a:pt x="451" y="1905"/>
                    </a:moveTo>
                    <a:lnTo>
                      <a:pt x="473" y="1894"/>
                    </a:lnTo>
                    <a:lnTo>
                      <a:pt x="481" y="1840"/>
                    </a:lnTo>
                    <a:lnTo>
                      <a:pt x="481" y="1786"/>
                    </a:lnTo>
                    <a:lnTo>
                      <a:pt x="515" y="1743"/>
                    </a:lnTo>
                    <a:lnTo>
                      <a:pt x="535" y="1733"/>
                    </a:lnTo>
                    <a:lnTo>
                      <a:pt x="546" y="1636"/>
                    </a:lnTo>
                    <a:lnTo>
                      <a:pt x="535" y="1582"/>
                    </a:lnTo>
                    <a:lnTo>
                      <a:pt x="568" y="1562"/>
                    </a:lnTo>
                    <a:lnTo>
                      <a:pt x="577" y="1509"/>
                    </a:lnTo>
                    <a:lnTo>
                      <a:pt x="535" y="1465"/>
                    </a:lnTo>
                    <a:lnTo>
                      <a:pt x="535" y="1410"/>
                    </a:lnTo>
                    <a:lnTo>
                      <a:pt x="535" y="1359"/>
                    </a:lnTo>
                    <a:lnTo>
                      <a:pt x="546" y="1261"/>
                    </a:lnTo>
                    <a:lnTo>
                      <a:pt x="535" y="1219"/>
                    </a:lnTo>
                    <a:lnTo>
                      <a:pt x="546" y="1175"/>
                    </a:lnTo>
                    <a:lnTo>
                      <a:pt x="577" y="1145"/>
                    </a:lnTo>
                    <a:lnTo>
                      <a:pt x="600" y="1133"/>
                    </a:lnTo>
                    <a:lnTo>
                      <a:pt x="632" y="1122"/>
                    </a:lnTo>
                    <a:lnTo>
                      <a:pt x="654" y="1122"/>
                    </a:lnTo>
                    <a:lnTo>
                      <a:pt x="684" y="1110"/>
                    </a:lnTo>
                    <a:lnTo>
                      <a:pt x="674" y="1060"/>
                    </a:lnTo>
                    <a:lnTo>
                      <a:pt x="665" y="1026"/>
                    </a:lnTo>
                    <a:lnTo>
                      <a:pt x="707" y="953"/>
                    </a:lnTo>
                    <a:lnTo>
                      <a:pt x="719" y="812"/>
                    </a:lnTo>
                    <a:lnTo>
                      <a:pt x="749" y="802"/>
                    </a:lnTo>
                    <a:lnTo>
                      <a:pt x="761" y="760"/>
                    </a:lnTo>
                    <a:lnTo>
                      <a:pt x="803" y="695"/>
                    </a:lnTo>
                    <a:lnTo>
                      <a:pt x="823" y="641"/>
                    </a:lnTo>
                    <a:lnTo>
                      <a:pt x="815" y="611"/>
                    </a:lnTo>
                    <a:lnTo>
                      <a:pt x="846" y="534"/>
                    </a:lnTo>
                    <a:lnTo>
                      <a:pt x="868" y="512"/>
                    </a:lnTo>
                    <a:lnTo>
                      <a:pt x="922" y="512"/>
                    </a:lnTo>
                    <a:lnTo>
                      <a:pt x="922" y="460"/>
                    </a:lnTo>
                    <a:lnTo>
                      <a:pt x="942" y="438"/>
                    </a:lnTo>
                    <a:lnTo>
                      <a:pt x="1019" y="450"/>
                    </a:lnTo>
                    <a:lnTo>
                      <a:pt x="1039" y="438"/>
                    </a:lnTo>
                    <a:lnTo>
                      <a:pt x="1027" y="395"/>
                    </a:lnTo>
                    <a:lnTo>
                      <a:pt x="1039" y="353"/>
                    </a:lnTo>
                    <a:lnTo>
                      <a:pt x="1061" y="353"/>
                    </a:lnTo>
                    <a:lnTo>
                      <a:pt x="1072" y="342"/>
                    </a:lnTo>
                    <a:lnTo>
                      <a:pt x="1091" y="311"/>
                    </a:lnTo>
                    <a:lnTo>
                      <a:pt x="1114" y="320"/>
                    </a:lnTo>
                    <a:lnTo>
                      <a:pt x="1146" y="353"/>
                    </a:lnTo>
                    <a:lnTo>
                      <a:pt x="1156" y="385"/>
                    </a:lnTo>
                    <a:lnTo>
                      <a:pt x="1176" y="385"/>
                    </a:lnTo>
                    <a:lnTo>
                      <a:pt x="1210" y="395"/>
                    </a:lnTo>
                    <a:lnTo>
                      <a:pt x="1230" y="385"/>
                    </a:lnTo>
                    <a:lnTo>
                      <a:pt x="1253" y="362"/>
                    </a:lnTo>
                    <a:lnTo>
                      <a:pt x="1272" y="373"/>
                    </a:lnTo>
                    <a:lnTo>
                      <a:pt x="1307" y="373"/>
                    </a:lnTo>
                    <a:lnTo>
                      <a:pt x="1337" y="331"/>
                    </a:lnTo>
                    <a:lnTo>
                      <a:pt x="1337" y="276"/>
                    </a:lnTo>
                    <a:lnTo>
                      <a:pt x="1337" y="224"/>
                    </a:lnTo>
                    <a:lnTo>
                      <a:pt x="1349" y="192"/>
                    </a:lnTo>
                    <a:lnTo>
                      <a:pt x="1391" y="181"/>
                    </a:lnTo>
                    <a:lnTo>
                      <a:pt x="1423" y="150"/>
                    </a:lnTo>
                    <a:lnTo>
                      <a:pt x="1445" y="150"/>
                    </a:lnTo>
                    <a:lnTo>
                      <a:pt x="1476" y="169"/>
                    </a:lnTo>
                    <a:lnTo>
                      <a:pt x="1488" y="181"/>
                    </a:lnTo>
                    <a:lnTo>
                      <a:pt x="1510" y="192"/>
                    </a:lnTo>
                    <a:lnTo>
                      <a:pt x="1530" y="234"/>
                    </a:lnTo>
                    <a:lnTo>
                      <a:pt x="1510" y="257"/>
                    </a:lnTo>
                    <a:lnTo>
                      <a:pt x="1530" y="288"/>
                    </a:lnTo>
                    <a:lnTo>
                      <a:pt x="1541" y="257"/>
                    </a:lnTo>
                    <a:lnTo>
                      <a:pt x="1564" y="234"/>
                    </a:lnTo>
                    <a:lnTo>
                      <a:pt x="1572" y="204"/>
                    </a:lnTo>
                    <a:lnTo>
                      <a:pt x="1595" y="192"/>
                    </a:lnTo>
                    <a:lnTo>
                      <a:pt x="1607" y="161"/>
                    </a:lnTo>
                    <a:lnTo>
                      <a:pt x="1553" y="161"/>
                    </a:lnTo>
                    <a:lnTo>
                      <a:pt x="1476" y="127"/>
                    </a:lnTo>
                    <a:lnTo>
                      <a:pt x="1541" y="127"/>
                    </a:lnTo>
                    <a:lnTo>
                      <a:pt x="1595" y="65"/>
                    </a:lnTo>
                    <a:lnTo>
                      <a:pt x="1468" y="11"/>
                    </a:lnTo>
                    <a:lnTo>
                      <a:pt x="1403" y="0"/>
                    </a:lnTo>
                    <a:lnTo>
                      <a:pt x="1372" y="97"/>
                    </a:lnTo>
                    <a:lnTo>
                      <a:pt x="1337" y="31"/>
                    </a:lnTo>
                    <a:lnTo>
                      <a:pt x="1295" y="97"/>
                    </a:lnTo>
                    <a:lnTo>
                      <a:pt x="1295" y="0"/>
                    </a:lnTo>
                    <a:lnTo>
                      <a:pt x="1253" y="31"/>
                    </a:lnTo>
                    <a:lnTo>
                      <a:pt x="1230" y="85"/>
                    </a:lnTo>
                    <a:lnTo>
                      <a:pt x="1176" y="65"/>
                    </a:lnTo>
                    <a:lnTo>
                      <a:pt x="1123" y="107"/>
                    </a:lnTo>
                    <a:lnTo>
                      <a:pt x="1091" y="169"/>
                    </a:lnTo>
                    <a:lnTo>
                      <a:pt x="1019" y="204"/>
                    </a:lnTo>
                    <a:lnTo>
                      <a:pt x="953" y="204"/>
                    </a:lnTo>
                    <a:lnTo>
                      <a:pt x="910" y="276"/>
                    </a:lnTo>
                    <a:lnTo>
                      <a:pt x="858" y="311"/>
                    </a:lnTo>
                    <a:lnTo>
                      <a:pt x="858" y="362"/>
                    </a:lnTo>
                    <a:lnTo>
                      <a:pt x="888" y="373"/>
                    </a:lnTo>
                    <a:lnTo>
                      <a:pt x="835" y="427"/>
                    </a:lnTo>
                    <a:lnTo>
                      <a:pt x="835" y="373"/>
                    </a:lnTo>
                    <a:lnTo>
                      <a:pt x="792" y="418"/>
                    </a:lnTo>
                    <a:lnTo>
                      <a:pt x="803" y="342"/>
                    </a:lnTo>
                    <a:lnTo>
                      <a:pt x="761" y="385"/>
                    </a:lnTo>
                    <a:lnTo>
                      <a:pt x="707" y="427"/>
                    </a:lnTo>
                    <a:lnTo>
                      <a:pt x="739" y="460"/>
                    </a:lnTo>
                    <a:lnTo>
                      <a:pt x="665" y="492"/>
                    </a:lnTo>
                    <a:lnTo>
                      <a:pt x="622" y="546"/>
                    </a:lnTo>
                    <a:lnTo>
                      <a:pt x="684" y="504"/>
                    </a:lnTo>
                    <a:lnTo>
                      <a:pt x="815" y="469"/>
                    </a:lnTo>
                    <a:lnTo>
                      <a:pt x="739" y="557"/>
                    </a:lnTo>
                    <a:lnTo>
                      <a:pt x="719" y="619"/>
                    </a:lnTo>
                    <a:lnTo>
                      <a:pt x="674" y="673"/>
                    </a:lnTo>
                    <a:lnTo>
                      <a:pt x="642" y="738"/>
                    </a:lnTo>
                    <a:lnTo>
                      <a:pt x="558" y="941"/>
                    </a:lnTo>
                    <a:lnTo>
                      <a:pt x="503" y="983"/>
                    </a:lnTo>
                    <a:lnTo>
                      <a:pt x="451" y="1068"/>
                    </a:lnTo>
                    <a:lnTo>
                      <a:pt x="365" y="1199"/>
                    </a:lnTo>
                    <a:lnTo>
                      <a:pt x="332" y="1157"/>
                    </a:lnTo>
                    <a:lnTo>
                      <a:pt x="300" y="1219"/>
                    </a:lnTo>
                    <a:lnTo>
                      <a:pt x="258" y="1261"/>
                    </a:lnTo>
                    <a:lnTo>
                      <a:pt x="193" y="1261"/>
                    </a:lnTo>
                    <a:lnTo>
                      <a:pt x="139" y="1326"/>
                    </a:lnTo>
                    <a:lnTo>
                      <a:pt x="24" y="1410"/>
                    </a:lnTo>
                    <a:lnTo>
                      <a:pt x="32" y="1465"/>
                    </a:lnTo>
                    <a:lnTo>
                      <a:pt x="0" y="1509"/>
                    </a:lnTo>
                    <a:lnTo>
                      <a:pt x="0" y="1636"/>
                    </a:lnTo>
                    <a:lnTo>
                      <a:pt x="32" y="1701"/>
                    </a:lnTo>
                    <a:lnTo>
                      <a:pt x="0" y="1755"/>
                    </a:lnTo>
                    <a:lnTo>
                      <a:pt x="0" y="1806"/>
                    </a:lnTo>
                    <a:lnTo>
                      <a:pt x="66" y="1798"/>
                    </a:lnTo>
                    <a:lnTo>
                      <a:pt x="24" y="1840"/>
                    </a:lnTo>
                    <a:lnTo>
                      <a:pt x="0" y="1905"/>
                    </a:lnTo>
                    <a:lnTo>
                      <a:pt x="32" y="1947"/>
                    </a:lnTo>
                    <a:lnTo>
                      <a:pt x="86" y="1989"/>
                    </a:lnTo>
                    <a:lnTo>
                      <a:pt x="161" y="2012"/>
                    </a:lnTo>
                    <a:lnTo>
                      <a:pt x="223" y="1979"/>
                    </a:lnTo>
                    <a:lnTo>
                      <a:pt x="332" y="1882"/>
                    </a:lnTo>
                    <a:lnTo>
                      <a:pt x="374" y="1882"/>
                    </a:lnTo>
                    <a:lnTo>
                      <a:pt x="396" y="1828"/>
                    </a:lnTo>
                    <a:lnTo>
                      <a:pt x="439" y="1872"/>
                    </a:lnTo>
                    <a:lnTo>
                      <a:pt x="439" y="1905"/>
                    </a:lnTo>
                    <a:lnTo>
                      <a:pt x="451" y="1905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3" name="Freeform 58"/>
              <p:cNvSpPr>
                <a:spLocks/>
              </p:cNvSpPr>
              <p:nvPr/>
            </p:nvSpPr>
            <p:spPr bwMode="auto">
              <a:xfrm>
                <a:off x="3535264" y="920923"/>
                <a:ext cx="640566" cy="1362075"/>
              </a:xfrm>
              <a:custGeom>
                <a:avLst/>
                <a:gdLst>
                  <a:gd name="T0" fmla="*/ 647 w 868"/>
                  <a:gd name="T1" fmla="*/ 8518 h 2086"/>
                  <a:gd name="T2" fmla="*/ 647 w 868"/>
                  <a:gd name="T3" fmla="*/ 8518 h 2086"/>
                  <a:gd name="T4" fmla="*/ 647 w 868"/>
                  <a:gd name="T5" fmla="*/ 8518 h 2086"/>
                  <a:gd name="T6" fmla="*/ 647 w 868"/>
                  <a:gd name="T7" fmla="*/ 8518 h 2086"/>
                  <a:gd name="T8" fmla="*/ 647 w 868"/>
                  <a:gd name="T9" fmla="*/ 8518 h 2086"/>
                  <a:gd name="T10" fmla="*/ 647 w 868"/>
                  <a:gd name="T11" fmla="*/ 0 h 2086"/>
                  <a:gd name="T12" fmla="*/ 647 w 868"/>
                  <a:gd name="T13" fmla="*/ 8518 h 2086"/>
                  <a:gd name="T14" fmla="*/ 647 w 868"/>
                  <a:gd name="T15" fmla="*/ 8518 h 2086"/>
                  <a:gd name="T16" fmla="*/ 647 w 868"/>
                  <a:gd name="T17" fmla="*/ 8518 h 2086"/>
                  <a:gd name="T18" fmla="*/ 647 w 868"/>
                  <a:gd name="T19" fmla="*/ 8518 h 2086"/>
                  <a:gd name="T20" fmla="*/ 647 w 868"/>
                  <a:gd name="T21" fmla="*/ 8518 h 2086"/>
                  <a:gd name="T22" fmla="*/ 647 w 868"/>
                  <a:gd name="T23" fmla="*/ 8518 h 2086"/>
                  <a:gd name="T24" fmla="*/ 647 w 868"/>
                  <a:gd name="T25" fmla="*/ 8518 h 2086"/>
                  <a:gd name="T26" fmla="*/ 647 w 868"/>
                  <a:gd name="T27" fmla="*/ 8518 h 2086"/>
                  <a:gd name="T28" fmla="*/ 647 w 868"/>
                  <a:gd name="T29" fmla="*/ 8518 h 2086"/>
                  <a:gd name="T30" fmla="*/ 647 w 868"/>
                  <a:gd name="T31" fmla="*/ 8518 h 2086"/>
                  <a:gd name="T32" fmla="*/ 647 w 868"/>
                  <a:gd name="T33" fmla="*/ 8518 h 2086"/>
                  <a:gd name="T34" fmla="*/ 647 w 868"/>
                  <a:gd name="T35" fmla="*/ 8518 h 2086"/>
                  <a:gd name="T36" fmla="*/ 647 w 868"/>
                  <a:gd name="T37" fmla="*/ 8518 h 2086"/>
                  <a:gd name="T38" fmla="*/ 647 w 868"/>
                  <a:gd name="T39" fmla="*/ 8518 h 2086"/>
                  <a:gd name="T40" fmla="*/ 647 w 868"/>
                  <a:gd name="T41" fmla="*/ 8518 h 2086"/>
                  <a:gd name="T42" fmla="*/ 647 w 868"/>
                  <a:gd name="T43" fmla="*/ 8518 h 2086"/>
                  <a:gd name="T44" fmla="*/ 647 w 868"/>
                  <a:gd name="T45" fmla="*/ 8518 h 2086"/>
                  <a:gd name="T46" fmla="*/ 647 w 868"/>
                  <a:gd name="T47" fmla="*/ 8518 h 2086"/>
                  <a:gd name="T48" fmla="*/ 647 w 868"/>
                  <a:gd name="T49" fmla="*/ 8518 h 2086"/>
                  <a:gd name="T50" fmla="*/ 0 w 868"/>
                  <a:gd name="T51" fmla="*/ 8518 h 2086"/>
                  <a:gd name="T52" fmla="*/ 647 w 868"/>
                  <a:gd name="T53" fmla="*/ 8518 h 2086"/>
                  <a:gd name="T54" fmla="*/ 647 w 868"/>
                  <a:gd name="T55" fmla="*/ 8518 h 2086"/>
                  <a:gd name="T56" fmla="*/ 647 w 868"/>
                  <a:gd name="T57" fmla="*/ 8518 h 2086"/>
                  <a:gd name="T58" fmla="*/ 647 w 868"/>
                  <a:gd name="T59" fmla="*/ 8518 h 2086"/>
                  <a:gd name="T60" fmla="*/ 647 w 868"/>
                  <a:gd name="T61" fmla="*/ 8518 h 2086"/>
                  <a:gd name="T62" fmla="*/ 647 w 868"/>
                  <a:gd name="T63" fmla="*/ 8518 h 2086"/>
                  <a:gd name="T64" fmla="*/ 647 w 868"/>
                  <a:gd name="T65" fmla="*/ 8518 h 2086"/>
                  <a:gd name="T66" fmla="*/ 647 w 868"/>
                  <a:gd name="T67" fmla="*/ 8518 h 2086"/>
                  <a:gd name="T68" fmla="*/ 647 w 868"/>
                  <a:gd name="T69" fmla="*/ 8518 h 2086"/>
                  <a:gd name="T70" fmla="*/ 647 w 868"/>
                  <a:gd name="T71" fmla="*/ 8518 h 2086"/>
                  <a:gd name="T72" fmla="*/ 647 w 868"/>
                  <a:gd name="T73" fmla="*/ 8518 h 2086"/>
                  <a:gd name="T74" fmla="*/ 647 w 868"/>
                  <a:gd name="T75" fmla="*/ 8518 h 2086"/>
                  <a:gd name="T76" fmla="*/ 647 w 868"/>
                  <a:gd name="T77" fmla="*/ 8518 h 2086"/>
                  <a:gd name="T78" fmla="*/ 647 w 868"/>
                  <a:gd name="T79" fmla="*/ 8518 h 2086"/>
                  <a:gd name="T80" fmla="*/ 647 w 868"/>
                  <a:gd name="T81" fmla="*/ 8518 h 2086"/>
                  <a:gd name="T82" fmla="*/ 647 w 868"/>
                  <a:gd name="T83" fmla="*/ 8518 h 2086"/>
                  <a:gd name="T84" fmla="*/ 647 w 868"/>
                  <a:gd name="T85" fmla="*/ 8518 h 208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868" h="2086">
                    <a:moveTo>
                      <a:pt x="868" y="449"/>
                    </a:moveTo>
                    <a:lnTo>
                      <a:pt x="856" y="439"/>
                    </a:lnTo>
                    <a:lnTo>
                      <a:pt x="845" y="373"/>
                    </a:lnTo>
                    <a:lnTo>
                      <a:pt x="845" y="330"/>
                    </a:lnTo>
                    <a:lnTo>
                      <a:pt x="825" y="300"/>
                    </a:lnTo>
                    <a:lnTo>
                      <a:pt x="814" y="266"/>
                    </a:lnTo>
                    <a:lnTo>
                      <a:pt x="803" y="169"/>
                    </a:lnTo>
                    <a:lnTo>
                      <a:pt x="791" y="127"/>
                    </a:lnTo>
                    <a:lnTo>
                      <a:pt x="761" y="97"/>
                    </a:lnTo>
                    <a:lnTo>
                      <a:pt x="737" y="85"/>
                    </a:lnTo>
                    <a:lnTo>
                      <a:pt x="707" y="74"/>
                    </a:lnTo>
                    <a:lnTo>
                      <a:pt x="622" y="0"/>
                    </a:lnTo>
                    <a:lnTo>
                      <a:pt x="600" y="0"/>
                    </a:lnTo>
                    <a:lnTo>
                      <a:pt x="588" y="42"/>
                    </a:lnTo>
                    <a:lnTo>
                      <a:pt x="600" y="85"/>
                    </a:lnTo>
                    <a:lnTo>
                      <a:pt x="580" y="97"/>
                    </a:lnTo>
                    <a:lnTo>
                      <a:pt x="503" y="85"/>
                    </a:lnTo>
                    <a:lnTo>
                      <a:pt x="483" y="107"/>
                    </a:lnTo>
                    <a:lnTo>
                      <a:pt x="483" y="159"/>
                    </a:lnTo>
                    <a:lnTo>
                      <a:pt x="429" y="159"/>
                    </a:lnTo>
                    <a:lnTo>
                      <a:pt x="407" y="181"/>
                    </a:lnTo>
                    <a:lnTo>
                      <a:pt x="376" y="258"/>
                    </a:lnTo>
                    <a:lnTo>
                      <a:pt x="384" y="288"/>
                    </a:lnTo>
                    <a:lnTo>
                      <a:pt x="364" y="342"/>
                    </a:lnTo>
                    <a:lnTo>
                      <a:pt x="322" y="407"/>
                    </a:lnTo>
                    <a:lnTo>
                      <a:pt x="310" y="449"/>
                    </a:lnTo>
                    <a:lnTo>
                      <a:pt x="280" y="459"/>
                    </a:lnTo>
                    <a:lnTo>
                      <a:pt x="268" y="600"/>
                    </a:lnTo>
                    <a:lnTo>
                      <a:pt x="226" y="673"/>
                    </a:lnTo>
                    <a:lnTo>
                      <a:pt x="235" y="707"/>
                    </a:lnTo>
                    <a:lnTo>
                      <a:pt x="245" y="757"/>
                    </a:lnTo>
                    <a:lnTo>
                      <a:pt x="215" y="769"/>
                    </a:lnTo>
                    <a:lnTo>
                      <a:pt x="193" y="769"/>
                    </a:lnTo>
                    <a:lnTo>
                      <a:pt x="161" y="780"/>
                    </a:lnTo>
                    <a:lnTo>
                      <a:pt x="138" y="792"/>
                    </a:lnTo>
                    <a:lnTo>
                      <a:pt x="107" y="822"/>
                    </a:lnTo>
                    <a:lnTo>
                      <a:pt x="96" y="866"/>
                    </a:lnTo>
                    <a:lnTo>
                      <a:pt x="107" y="908"/>
                    </a:lnTo>
                    <a:lnTo>
                      <a:pt x="96" y="1006"/>
                    </a:lnTo>
                    <a:lnTo>
                      <a:pt x="96" y="1057"/>
                    </a:lnTo>
                    <a:lnTo>
                      <a:pt x="96" y="1112"/>
                    </a:lnTo>
                    <a:lnTo>
                      <a:pt x="138" y="1156"/>
                    </a:lnTo>
                    <a:lnTo>
                      <a:pt x="129" y="1209"/>
                    </a:lnTo>
                    <a:lnTo>
                      <a:pt x="96" y="1229"/>
                    </a:lnTo>
                    <a:lnTo>
                      <a:pt x="107" y="1283"/>
                    </a:lnTo>
                    <a:lnTo>
                      <a:pt x="96" y="1380"/>
                    </a:lnTo>
                    <a:lnTo>
                      <a:pt x="76" y="1390"/>
                    </a:lnTo>
                    <a:lnTo>
                      <a:pt x="42" y="1433"/>
                    </a:lnTo>
                    <a:lnTo>
                      <a:pt x="42" y="1487"/>
                    </a:lnTo>
                    <a:lnTo>
                      <a:pt x="34" y="1541"/>
                    </a:lnTo>
                    <a:lnTo>
                      <a:pt x="12" y="1552"/>
                    </a:lnTo>
                    <a:lnTo>
                      <a:pt x="0" y="1552"/>
                    </a:lnTo>
                    <a:lnTo>
                      <a:pt x="12" y="1603"/>
                    </a:lnTo>
                    <a:lnTo>
                      <a:pt x="84" y="1852"/>
                    </a:lnTo>
                    <a:lnTo>
                      <a:pt x="129" y="1914"/>
                    </a:lnTo>
                    <a:lnTo>
                      <a:pt x="107" y="1968"/>
                    </a:lnTo>
                    <a:lnTo>
                      <a:pt x="129" y="2033"/>
                    </a:lnTo>
                    <a:lnTo>
                      <a:pt x="129" y="2086"/>
                    </a:lnTo>
                    <a:lnTo>
                      <a:pt x="235" y="2086"/>
                    </a:lnTo>
                    <a:lnTo>
                      <a:pt x="235" y="2033"/>
                    </a:lnTo>
                    <a:lnTo>
                      <a:pt x="280" y="1968"/>
                    </a:lnTo>
                    <a:lnTo>
                      <a:pt x="384" y="1968"/>
                    </a:lnTo>
                    <a:lnTo>
                      <a:pt x="419" y="1882"/>
                    </a:lnTo>
                    <a:lnTo>
                      <a:pt x="441" y="1733"/>
                    </a:lnTo>
                    <a:lnTo>
                      <a:pt x="441" y="1648"/>
                    </a:lnTo>
                    <a:lnTo>
                      <a:pt x="449" y="1603"/>
                    </a:lnTo>
                    <a:lnTo>
                      <a:pt x="503" y="1552"/>
                    </a:lnTo>
                    <a:lnTo>
                      <a:pt x="556" y="1509"/>
                    </a:lnTo>
                    <a:lnTo>
                      <a:pt x="534" y="1487"/>
                    </a:lnTo>
                    <a:lnTo>
                      <a:pt x="580" y="1445"/>
                    </a:lnTo>
                    <a:lnTo>
                      <a:pt x="600" y="1402"/>
                    </a:lnTo>
                    <a:lnTo>
                      <a:pt x="580" y="1360"/>
                    </a:lnTo>
                    <a:lnTo>
                      <a:pt x="471" y="1261"/>
                    </a:lnTo>
                    <a:lnTo>
                      <a:pt x="461" y="1199"/>
                    </a:lnTo>
                    <a:lnTo>
                      <a:pt x="471" y="1049"/>
                    </a:lnTo>
                    <a:lnTo>
                      <a:pt x="534" y="930"/>
                    </a:lnTo>
                    <a:lnTo>
                      <a:pt x="633" y="834"/>
                    </a:lnTo>
                    <a:lnTo>
                      <a:pt x="684" y="792"/>
                    </a:lnTo>
                    <a:lnTo>
                      <a:pt x="707" y="738"/>
                    </a:lnTo>
                    <a:lnTo>
                      <a:pt x="737" y="685"/>
                    </a:lnTo>
                    <a:lnTo>
                      <a:pt x="695" y="653"/>
                    </a:lnTo>
                    <a:lnTo>
                      <a:pt x="729" y="600"/>
                    </a:lnTo>
                    <a:lnTo>
                      <a:pt x="717" y="556"/>
                    </a:lnTo>
                    <a:lnTo>
                      <a:pt x="749" y="534"/>
                    </a:lnTo>
                    <a:lnTo>
                      <a:pt x="771" y="481"/>
                    </a:lnTo>
                    <a:lnTo>
                      <a:pt x="825" y="481"/>
                    </a:lnTo>
                    <a:lnTo>
                      <a:pt x="868" y="449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4" name="Freeform 59"/>
              <p:cNvSpPr>
                <a:spLocks/>
              </p:cNvSpPr>
              <p:nvPr/>
            </p:nvSpPr>
            <p:spPr bwMode="auto">
              <a:xfrm>
                <a:off x="3994660" y="787573"/>
                <a:ext cx="599587" cy="1012825"/>
              </a:xfrm>
              <a:custGeom>
                <a:avLst/>
                <a:gdLst>
                  <a:gd name="T0" fmla="*/ 664 w 811"/>
                  <a:gd name="T1" fmla="*/ 8528 h 1551"/>
                  <a:gd name="T2" fmla="*/ 664 w 811"/>
                  <a:gd name="T3" fmla="*/ 8528 h 1551"/>
                  <a:gd name="T4" fmla="*/ 664 w 811"/>
                  <a:gd name="T5" fmla="*/ 8528 h 1551"/>
                  <a:gd name="T6" fmla="*/ 664 w 811"/>
                  <a:gd name="T7" fmla="*/ 8528 h 1551"/>
                  <a:gd name="T8" fmla="*/ 664 w 811"/>
                  <a:gd name="T9" fmla="*/ 8528 h 1551"/>
                  <a:gd name="T10" fmla="*/ 664 w 811"/>
                  <a:gd name="T11" fmla="*/ 8528 h 1551"/>
                  <a:gd name="T12" fmla="*/ 664 w 811"/>
                  <a:gd name="T13" fmla="*/ 8528 h 1551"/>
                  <a:gd name="T14" fmla="*/ 664 w 811"/>
                  <a:gd name="T15" fmla="*/ 8528 h 1551"/>
                  <a:gd name="T16" fmla="*/ 664 w 811"/>
                  <a:gd name="T17" fmla="*/ 8528 h 1551"/>
                  <a:gd name="T18" fmla="*/ 664 w 811"/>
                  <a:gd name="T19" fmla="*/ 8528 h 1551"/>
                  <a:gd name="T20" fmla="*/ 664 w 811"/>
                  <a:gd name="T21" fmla="*/ 8528 h 1551"/>
                  <a:gd name="T22" fmla="*/ 664 w 811"/>
                  <a:gd name="T23" fmla="*/ 8528 h 1551"/>
                  <a:gd name="T24" fmla="*/ 664 w 811"/>
                  <a:gd name="T25" fmla="*/ 8528 h 1551"/>
                  <a:gd name="T26" fmla="*/ 664 w 811"/>
                  <a:gd name="T27" fmla="*/ 8528 h 1551"/>
                  <a:gd name="T28" fmla="*/ 664 w 811"/>
                  <a:gd name="T29" fmla="*/ 8528 h 1551"/>
                  <a:gd name="T30" fmla="*/ 664 w 811"/>
                  <a:gd name="T31" fmla="*/ 8528 h 1551"/>
                  <a:gd name="T32" fmla="*/ 664 w 811"/>
                  <a:gd name="T33" fmla="*/ 8528 h 1551"/>
                  <a:gd name="T34" fmla="*/ 664 w 811"/>
                  <a:gd name="T35" fmla="*/ 0 h 1551"/>
                  <a:gd name="T36" fmla="*/ 664 w 811"/>
                  <a:gd name="T37" fmla="*/ 8528 h 1551"/>
                  <a:gd name="T38" fmla="*/ 664 w 811"/>
                  <a:gd name="T39" fmla="*/ 8528 h 1551"/>
                  <a:gd name="T40" fmla="*/ 664 w 811"/>
                  <a:gd name="T41" fmla="*/ 8528 h 1551"/>
                  <a:gd name="T42" fmla="*/ 664 w 811"/>
                  <a:gd name="T43" fmla="*/ 8528 h 1551"/>
                  <a:gd name="T44" fmla="*/ 664 w 811"/>
                  <a:gd name="T45" fmla="*/ 8528 h 1551"/>
                  <a:gd name="T46" fmla="*/ 664 w 811"/>
                  <a:gd name="T47" fmla="*/ 8528 h 1551"/>
                  <a:gd name="T48" fmla="*/ 664 w 811"/>
                  <a:gd name="T49" fmla="*/ 8528 h 1551"/>
                  <a:gd name="T50" fmla="*/ 664 w 811"/>
                  <a:gd name="T51" fmla="*/ 8528 h 1551"/>
                  <a:gd name="T52" fmla="*/ 0 w 811"/>
                  <a:gd name="T53" fmla="*/ 8528 h 1551"/>
                  <a:gd name="T54" fmla="*/ 664 w 811"/>
                  <a:gd name="T55" fmla="*/ 8528 h 1551"/>
                  <a:gd name="T56" fmla="*/ 664 w 811"/>
                  <a:gd name="T57" fmla="*/ 8528 h 1551"/>
                  <a:gd name="T58" fmla="*/ 664 w 811"/>
                  <a:gd name="T59" fmla="*/ 8528 h 1551"/>
                  <a:gd name="T60" fmla="*/ 664 w 811"/>
                  <a:gd name="T61" fmla="*/ 8528 h 1551"/>
                  <a:gd name="T62" fmla="*/ 664 w 811"/>
                  <a:gd name="T63" fmla="*/ 8528 h 1551"/>
                  <a:gd name="T64" fmla="*/ 664 w 811"/>
                  <a:gd name="T65" fmla="*/ 8528 h 1551"/>
                  <a:gd name="T66" fmla="*/ 664 w 811"/>
                  <a:gd name="T67" fmla="*/ 8528 h 1551"/>
                  <a:gd name="T68" fmla="*/ 664 w 811"/>
                  <a:gd name="T69" fmla="*/ 8528 h 1551"/>
                  <a:gd name="T70" fmla="*/ 664 w 811"/>
                  <a:gd name="T71" fmla="*/ 8528 h 1551"/>
                  <a:gd name="T72" fmla="*/ 664 w 811"/>
                  <a:gd name="T73" fmla="*/ 8528 h 1551"/>
                  <a:gd name="T74" fmla="*/ 664 w 811"/>
                  <a:gd name="T75" fmla="*/ 8528 h 1551"/>
                  <a:gd name="T76" fmla="*/ 664 w 811"/>
                  <a:gd name="T77" fmla="*/ 8528 h 1551"/>
                  <a:gd name="T78" fmla="*/ 664 w 811"/>
                  <a:gd name="T79" fmla="*/ 8528 h 1551"/>
                  <a:gd name="T80" fmla="*/ 664 w 811"/>
                  <a:gd name="T81" fmla="*/ 8528 h 155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811" h="1551">
                    <a:moveTo>
                      <a:pt x="618" y="1422"/>
                    </a:moveTo>
                    <a:lnTo>
                      <a:pt x="641" y="1402"/>
                    </a:lnTo>
                    <a:lnTo>
                      <a:pt x="727" y="1260"/>
                    </a:lnTo>
                    <a:lnTo>
                      <a:pt x="769" y="1186"/>
                    </a:lnTo>
                    <a:lnTo>
                      <a:pt x="802" y="1102"/>
                    </a:lnTo>
                    <a:lnTo>
                      <a:pt x="811" y="1049"/>
                    </a:lnTo>
                    <a:lnTo>
                      <a:pt x="802" y="995"/>
                    </a:lnTo>
                    <a:lnTo>
                      <a:pt x="780" y="983"/>
                    </a:lnTo>
                    <a:lnTo>
                      <a:pt x="760" y="960"/>
                    </a:lnTo>
                    <a:lnTo>
                      <a:pt x="727" y="952"/>
                    </a:lnTo>
                    <a:lnTo>
                      <a:pt x="707" y="918"/>
                    </a:lnTo>
                    <a:lnTo>
                      <a:pt x="715" y="876"/>
                    </a:lnTo>
                    <a:lnTo>
                      <a:pt x="707" y="823"/>
                    </a:lnTo>
                    <a:lnTo>
                      <a:pt x="673" y="803"/>
                    </a:lnTo>
                    <a:lnTo>
                      <a:pt x="661" y="759"/>
                    </a:lnTo>
                    <a:lnTo>
                      <a:pt x="630" y="726"/>
                    </a:lnTo>
                    <a:lnTo>
                      <a:pt x="618" y="684"/>
                    </a:lnTo>
                    <a:lnTo>
                      <a:pt x="618" y="588"/>
                    </a:lnTo>
                    <a:lnTo>
                      <a:pt x="599" y="557"/>
                    </a:lnTo>
                    <a:lnTo>
                      <a:pt x="576" y="533"/>
                    </a:lnTo>
                    <a:lnTo>
                      <a:pt x="556" y="491"/>
                    </a:lnTo>
                    <a:lnTo>
                      <a:pt x="546" y="438"/>
                    </a:lnTo>
                    <a:lnTo>
                      <a:pt x="556" y="384"/>
                    </a:lnTo>
                    <a:lnTo>
                      <a:pt x="556" y="319"/>
                    </a:lnTo>
                    <a:lnTo>
                      <a:pt x="522" y="288"/>
                    </a:lnTo>
                    <a:lnTo>
                      <a:pt x="503" y="268"/>
                    </a:lnTo>
                    <a:lnTo>
                      <a:pt x="460" y="257"/>
                    </a:lnTo>
                    <a:lnTo>
                      <a:pt x="449" y="203"/>
                    </a:lnTo>
                    <a:lnTo>
                      <a:pt x="449" y="161"/>
                    </a:lnTo>
                    <a:lnTo>
                      <a:pt x="469" y="138"/>
                    </a:lnTo>
                    <a:lnTo>
                      <a:pt x="449" y="107"/>
                    </a:lnTo>
                    <a:lnTo>
                      <a:pt x="469" y="84"/>
                    </a:lnTo>
                    <a:lnTo>
                      <a:pt x="449" y="42"/>
                    </a:lnTo>
                    <a:lnTo>
                      <a:pt x="427" y="31"/>
                    </a:lnTo>
                    <a:lnTo>
                      <a:pt x="415" y="19"/>
                    </a:lnTo>
                    <a:lnTo>
                      <a:pt x="384" y="0"/>
                    </a:lnTo>
                    <a:lnTo>
                      <a:pt x="362" y="0"/>
                    </a:lnTo>
                    <a:lnTo>
                      <a:pt x="330" y="31"/>
                    </a:lnTo>
                    <a:lnTo>
                      <a:pt x="288" y="42"/>
                    </a:lnTo>
                    <a:lnTo>
                      <a:pt x="276" y="74"/>
                    </a:lnTo>
                    <a:lnTo>
                      <a:pt x="276" y="126"/>
                    </a:lnTo>
                    <a:lnTo>
                      <a:pt x="276" y="181"/>
                    </a:lnTo>
                    <a:lnTo>
                      <a:pt x="246" y="223"/>
                    </a:lnTo>
                    <a:lnTo>
                      <a:pt x="211" y="223"/>
                    </a:lnTo>
                    <a:lnTo>
                      <a:pt x="192" y="212"/>
                    </a:lnTo>
                    <a:lnTo>
                      <a:pt x="169" y="235"/>
                    </a:lnTo>
                    <a:lnTo>
                      <a:pt x="149" y="245"/>
                    </a:lnTo>
                    <a:lnTo>
                      <a:pt x="115" y="235"/>
                    </a:lnTo>
                    <a:lnTo>
                      <a:pt x="95" y="235"/>
                    </a:lnTo>
                    <a:lnTo>
                      <a:pt x="85" y="203"/>
                    </a:lnTo>
                    <a:lnTo>
                      <a:pt x="53" y="170"/>
                    </a:lnTo>
                    <a:lnTo>
                      <a:pt x="30" y="161"/>
                    </a:lnTo>
                    <a:lnTo>
                      <a:pt x="11" y="192"/>
                    </a:lnTo>
                    <a:lnTo>
                      <a:pt x="0" y="203"/>
                    </a:lnTo>
                    <a:lnTo>
                      <a:pt x="85" y="277"/>
                    </a:lnTo>
                    <a:lnTo>
                      <a:pt x="115" y="288"/>
                    </a:lnTo>
                    <a:lnTo>
                      <a:pt x="139" y="300"/>
                    </a:lnTo>
                    <a:lnTo>
                      <a:pt x="169" y="330"/>
                    </a:lnTo>
                    <a:lnTo>
                      <a:pt x="181" y="372"/>
                    </a:lnTo>
                    <a:lnTo>
                      <a:pt x="192" y="469"/>
                    </a:lnTo>
                    <a:lnTo>
                      <a:pt x="203" y="503"/>
                    </a:lnTo>
                    <a:lnTo>
                      <a:pt x="223" y="533"/>
                    </a:lnTo>
                    <a:lnTo>
                      <a:pt x="223" y="576"/>
                    </a:lnTo>
                    <a:lnTo>
                      <a:pt x="234" y="642"/>
                    </a:lnTo>
                    <a:lnTo>
                      <a:pt x="246" y="652"/>
                    </a:lnTo>
                    <a:lnTo>
                      <a:pt x="276" y="662"/>
                    </a:lnTo>
                    <a:lnTo>
                      <a:pt x="342" y="707"/>
                    </a:lnTo>
                    <a:lnTo>
                      <a:pt x="353" y="779"/>
                    </a:lnTo>
                    <a:lnTo>
                      <a:pt x="311" y="811"/>
                    </a:lnTo>
                    <a:lnTo>
                      <a:pt x="288" y="898"/>
                    </a:lnTo>
                    <a:lnTo>
                      <a:pt x="192" y="1049"/>
                    </a:lnTo>
                    <a:lnTo>
                      <a:pt x="139" y="1111"/>
                    </a:lnTo>
                    <a:lnTo>
                      <a:pt x="115" y="1198"/>
                    </a:lnTo>
                    <a:lnTo>
                      <a:pt x="127" y="1272"/>
                    </a:lnTo>
                    <a:lnTo>
                      <a:pt x="161" y="1337"/>
                    </a:lnTo>
                    <a:lnTo>
                      <a:pt x="149" y="1422"/>
                    </a:lnTo>
                    <a:lnTo>
                      <a:pt x="149" y="1464"/>
                    </a:lnTo>
                    <a:lnTo>
                      <a:pt x="211" y="1498"/>
                    </a:lnTo>
                    <a:lnTo>
                      <a:pt x="256" y="1529"/>
                    </a:lnTo>
                    <a:lnTo>
                      <a:pt x="318" y="1551"/>
                    </a:lnTo>
                    <a:lnTo>
                      <a:pt x="395" y="1529"/>
                    </a:lnTo>
                    <a:lnTo>
                      <a:pt x="588" y="1422"/>
                    </a:lnTo>
                    <a:lnTo>
                      <a:pt x="618" y="1422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5" name="Freeform 60"/>
              <p:cNvSpPr>
                <a:spLocks/>
              </p:cNvSpPr>
              <p:nvPr/>
            </p:nvSpPr>
            <p:spPr bwMode="auto">
              <a:xfrm>
                <a:off x="5400886" y="4016548"/>
                <a:ext cx="189797" cy="131763"/>
              </a:xfrm>
              <a:custGeom>
                <a:avLst/>
                <a:gdLst>
                  <a:gd name="T0" fmla="*/ 0 w 256"/>
                  <a:gd name="T1" fmla="*/ 7836 h 203"/>
                  <a:gd name="T2" fmla="*/ 691 w 256"/>
                  <a:gd name="T3" fmla="*/ 7836 h 203"/>
                  <a:gd name="T4" fmla="*/ 691 w 256"/>
                  <a:gd name="T5" fmla="*/ 7836 h 203"/>
                  <a:gd name="T6" fmla="*/ 691 w 256"/>
                  <a:gd name="T7" fmla="*/ 7836 h 203"/>
                  <a:gd name="T8" fmla="*/ 691 w 256"/>
                  <a:gd name="T9" fmla="*/ 7836 h 203"/>
                  <a:gd name="T10" fmla="*/ 691 w 256"/>
                  <a:gd name="T11" fmla="*/ 7836 h 203"/>
                  <a:gd name="T12" fmla="*/ 691 w 256"/>
                  <a:gd name="T13" fmla="*/ 7836 h 203"/>
                  <a:gd name="T14" fmla="*/ 691 w 256"/>
                  <a:gd name="T15" fmla="*/ 0 h 203"/>
                  <a:gd name="T16" fmla="*/ 691 w 256"/>
                  <a:gd name="T17" fmla="*/ 7836 h 203"/>
                  <a:gd name="T18" fmla="*/ 691 w 256"/>
                  <a:gd name="T19" fmla="*/ 7836 h 203"/>
                  <a:gd name="T20" fmla="*/ 691 w 256"/>
                  <a:gd name="T21" fmla="*/ 7836 h 203"/>
                  <a:gd name="T22" fmla="*/ 691 w 256"/>
                  <a:gd name="T23" fmla="*/ 7836 h 203"/>
                  <a:gd name="T24" fmla="*/ 0 w 256"/>
                  <a:gd name="T25" fmla="*/ 7836 h 20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56" h="203">
                    <a:moveTo>
                      <a:pt x="0" y="161"/>
                    </a:moveTo>
                    <a:lnTo>
                      <a:pt x="33" y="203"/>
                    </a:lnTo>
                    <a:lnTo>
                      <a:pt x="107" y="192"/>
                    </a:lnTo>
                    <a:lnTo>
                      <a:pt x="171" y="161"/>
                    </a:lnTo>
                    <a:lnTo>
                      <a:pt x="183" y="128"/>
                    </a:lnTo>
                    <a:lnTo>
                      <a:pt x="236" y="105"/>
                    </a:lnTo>
                    <a:lnTo>
                      <a:pt x="206" y="74"/>
                    </a:lnTo>
                    <a:lnTo>
                      <a:pt x="256" y="0"/>
                    </a:lnTo>
                    <a:lnTo>
                      <a:pt x="194" y="43"/>
                    </a:lnTo>
                    <a:lnTo>
                      <a:pt x="140" y="74"/>
                    </a:lnTo>
                    <a:lnTo>
                      <a:pt x="87" y="96"/>
                    </a:lnTo>
                    <a:lnTo>
                      <a:pt x="64" y="128"/>
                    </a:lnTo>
                    <a:lnTo>
                      <a:pt x="0" y="161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6" name="Freeform 61"/>
              <p:cNvSpPr>
                <a:spLocks/>
              </p:cNvSpPr>
              <p:nvPr/>
            </p:nvSpPr>
            <p:spPr bwMode="auto">
              <a:xfrm>
                <a:off x="5400886" y="4016548"/>
                <a:ext cx="189797" cy="131763"/>
              </a:xfrm>
              <a:custGeom>
                <a:avLst/>
                <a:gdLst>
                  <a:gd name="T0" fmla="*/ 0 w 256"/>
                  <a:gd name="T1" fmla="*/ 7836 h 203"/>
                  <a:gd name="T2" fmla="*/ 691 w 256"/>
                  <a:gd name="T3" fmla="*/ 7836 h 203"/>
                  <a:gd name="T4" fmla="*/ 691 w 256"/>
                  <a:gd name="T5" fmla="*/ 7836 h 203"/>
                  <a:gd name="T6" fmla="*/ 691 w 256"/>
                  <a:gd name="T7" fmla="*/ 7836 h 203"/>
                  <a:gd name="T8" fmla="*/ 691 w 256"/>
                  <a:gd name="T9" fmla="*/ 7836 h 203"/>
                  <a:gd name="T10" fmla="*/ 691 w 256"/>
                  <a:gd name="T11" fmla="*/ 7836 h 203"/>
                  <a:gd name="T12" fmla="*/ 691 w 256"/>
                  <a:gd name="T13" fmla="*/ 7836 h 203"/>
                  <a:gd name="T14" fmla="*/ 691 w 256"/>
                  <a:gd name="T15" fmla="*/ 0 h 203"/>
                  <a:gd name="T16" fmla="*/ 691 w 256"/>
                  <a:gd name="T17" fmla="*/ 7836 h 203"/>
                  <a:gd name="T18" fmla="*/ 691 w 256"/>
                  <a:gd name="T19" fmla="*/ 7836 h 203"/>
                  <a:gd name="T20" fmla="*/ 691 w 256"/>
                  <a:gd name="T21" fmla="*/ 7836 h 203"/>
                  <a:gd name="T22" fmla="*/ 691 w 256"/>
                  <a:gd name="T23" fmla="*/ 7836 h 203"/>
                  <a:gd name="T24" fmla="*/ 0 w 256"/>
                  <a:gd name="T25" fmla="*/ 7836 h 20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56" h="203">
                    <a:moveTo>
                      <a:pt x="0" y="161"/>
                    </a:moveTo>
                    <a:lnTo>
                      <a:pt x="33" y="203"/>
                    </a:lnTo>
                    <a:lnTo>
                      <a:pt x="107" y="192"/>
                    </a:lnTo>
                    <a:lnTo>
                      <a:pt x="171" y="161"/>
                    </a:lnTo>
                    <a:lnTo>
                      <a:pt x="183" y="128"/>
                    </a:lnTo>
                    <a:lnTo>
                      <a:pt x="236" y="105"/>
                    </a:lnTo>
                    <a:lnTo>
                      <a:pt x="206" y="74"/>
                    </a:lnTo>
                    <a:lnTo>
                      <a:pt x="256" y="0"/>
                    </a:lnTo>
                    <a:lnTo>
                      <a:pt x="194" y="43"/>
                    </a:lnTo>
                    <a:lnTo>
                      <a:pt x="140" y="74"/>
                    </a:lnTo>
                    <a:lnTo>
                      <a:pt x="87" y="96"/>
                    </a:lnTo>
                    <a:lnTo>
                      <a:pt x="64" y="128"/>
                    </a:lnTo>
                    <a:lnTo>
                      <a:pt x="0" y="161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7" name="Freeform 62"/>
              <p:cNvSpPr>
                <a:spLocks/>
              </p:cNvSpPr>
              <p:nvPr/>
            </p:nvSpPr>
            <p:spPr bwMode="auto">
              <a:xfrm>
                <a:off x="4059364" y="2276648"/>
                <a:ext cx="202738" cy="98425"/>
              </a:xfrm>
              <a:custGeom>
                <a:avLst/>
                <a:gdLst>
                  <a:gd name="T0" fmla="*/ 577 w 277"/>
                  <a:gd name="T1" fmla="*/ 0 h 149"/>
                  <a:gd name="T2" fmla="*/ 577 w 277"/>
                  <a:gd name="T3" fmla="*/ 10019 h 149"/>
                  <a:gd name="T4" fmla="*/ 577 w 277"/>
                  <a:gd name="T5" fmla="*/ 10019 h 149"/>
                  <a:gd name="T6" fmla="*/ 0 w 277"/>
                  <a:gd name="T7" fmla="*/ 10019 h 149"/>
                  <a:gd name="T8" fmla="*/ 577 w 277"/>
                  <a:gd name="T9" fmla="*/ 10019 h 149"/>
                  <a:gd name="T10" fmla="*/ 577 w 277"/>
                  <a:gd name="T11" fmla="*/ 10019 h 149"/>
                  <a:gd name="T12" fmla="*/ 577 w 277"/>
                  <a:gd name="T13" fmla="*/ 10019 h 149"/>
                  <a:gd name="T14" fmla="*/ 577 w 277"/>
                  <a:gd name="T15" fmla="*/ 10019 h 149"/>
                  <a:gd name="T16" fmla="*/ 577 w 277"/>
                  <a:gd name="T17" fmla="*/ 10019 h 149"/>
                  <a:gd name="T18" fmla="*/ 577 w 277"/>
                  <a:gd name="T19" fmla="*/ 10019 h 149"/>
                  <a:gd name="T20" fmla="*/ 577 w 277"/>
                  <a:gd name="T21" fmla="*/ 10019 h 149"/>
                  <a:gd name="T22" fmla="*/ 577 w 277"/>
                  <a:gd name="T23" fmla="*/ 10019 h 149"/>
                  <a:gd name="T24" fmla="*/ 577 w 277"/>
                  <a:gd name="T25" fmla="*/ 10019 h 149"/>
                  <a:gd name="T26" fmla="*/ 577 w 277"/>
                  <a:gd name="T27" fmla="*/ 10019 h 149"/>
                  <a:gd name="T28" fmla="*/ 577 w 277"/>
                  <a:gd name="T29" fmla="*/ 10019 h 149"/>
                  <a:gd name="T30" fmla="*/ 577 w 277"/>
                  <a:gd name="T31" fmla="*/ 0 h 149"/>
                  <a:gd name="T32" fmla="*/ 577 w 277"/>
                  <a:gd name="T33" fmla="*/ 0 h 14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77" h="149">
                    <a:moveTo>
                      <a:pt x="96" y="0"/>
                    </a:moveTo>
                    <a:lnTo>
                      <a:pt x="96" y="23"/>
                    </a:lnTo>
                    <a:lnTo>
                      <a:pt x="30" y="65"/>
                    </a:lnTo>
                    <a:lnTo>
                      <a:pt x="0" y="139"/>
                    </a:lnTo>
                    <a:lnTo>
                      <a:pt x="118" y="149"/>
                    </a:lnTo>
                    <a:lnTo>
                      <a:pt x="203" y="139"/>
                    </a:lnTo>
                    <a:lnTo>
                      <a:pt x="277" y="119"/>
                    </a:lnTo>
                    <a:lnTo>
                      <a:pt x="268" y="107"/>
                    </a:lnTo>
                    <a:lnTo>
                      <a:pt x="268" y="85"/>
                    </a:lnTo>
                    <a:lnTo>
                      <a:pt x="277" y="65"/>
                    </a:lnTo>
                    <a:lnTo>
                      <a:pt x="257" y="23"/>
                    </a:lnTo>
                    <a:lnTo>
                      <a:pt x="245" y="23"/>
                    </a:lnTo>
                    <a:lnTo>
                      <a:pt x="214" y="23"/>
                    </a:lnTo>
                    <a:lnTo>
                      <a:pt x="191" y="23"/>
                    </a:lnTo>
                    <a:lnTo>
                      <a:pt x="161" y="11"/>
                    </a:lnTo>
                    <a:lnTo>
                      <a:pt x="149" y="0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8" name="Freeform 63"/>
              <p:cNvSpPr>
                <a:spLocks/>
              </p:cNvSpPr>
              <p:nvPr/>
            </p:nvSpPr>
            <p:spPr bwMode="auto">
              <a:xfrm>
                <a:off x="4128381" y="1995660"/>
                <a:ext cx="459396" cy="225425"/>
              </a:xfrm>
              <a:custGeom>
                <a:avLst/>
                <a:gdLst>
                  <a:gd name="T0" fmla="*/ 670 w 621"/>
                  <a:gd name="T1" fmla="*/ 9719 h 342"/>
                  <a:gd name="T2" fmla="*/ 670 w 621"/>
                  <a:gd name="T3" fmla="*/ 9719 h 342"/>
                  <a:gd name="T4" fmla="*/ 670 w 621"/>
                  <a:gd name="T5" fmla="*/ 9719 h 342"/>
                  <a:gd name="T6" fmla="*/ 670 w 621"/>
                  <a:gd name="T7" fmla="*/ 9719 h 342"/>
                  <a:gd name="T8" fmla="*/ 670 w 621"/>
                  <a:gd name="T9" fmla="*/ 9719 h 342"/>
                  <a:gd name="T10" fmla="*/ 670 w 621"/>
                  <a:gd name="T11" fmla="*/ 9719 h 342"/>
                  <a:gd name="T12" fmla="*/ 670 w 621"/>
                  <a:gd name="T13" fmla="*/ 9719 h 342"/>
                  <a:gd name="T14" fmla="*/ 670 w 621"/>
                  <a:gd name="T15" fmla="*/ 9719 h 342"/>
                  <a:gd name="T16" fmla="*/ 670 w 621"/>
                  <a:gd name="T17" fmla="*/ 9719 h 342"/>
                  <a:gd name="T18" fmla="*/ 670 w 621"/>
                  <a:gd name="T19" fmla="*/ 9719 h 342"/>
                  <a:gd name="T20" fmla="*/ 670 w 621"/>
                  <a:gd name="T21" fmla="*/ 9719 h 342"/>
                  <a:gd name="T22" fmla="*/ 670 w 621"/>
                  <a:gd name="T23" fmla="*/ 9719 h 342"/>
                  <a:gd name="T24" fmla="*/ 670 w 621"/>
                  <a:gd name="T25" fmla="*/ 9719 h 342"/>
                  <a:gd name="T26" fmla="*/ 670 w 621"/>
                  <a:gd name="T27" fmla="*/ 9719 h 342"/>
                  <a:gd name="T28" fmla="*/ 670 w 621"/>
                  <a:gd name="T29" fmla="*/ 9719 h 342"/>
                  <a:gd name="T30" fmla="*/ 670 w 621"/>
                  <a:gd name="T31" fmla="*/ 9719 h 342"/>
                  <a:gd name="T32" fmla="*/ 670 w 621"/>
                  <a:gd name="T33" fmla="*/ 9719 h 342"/>
                  <a:gd name="T34" fmla="*/ 670 w 621"/>
                  <a:gd name="T35" fmla="*/ 9719 h 342"/>
                  <a:gd name="T36" fmla="*/ 670 w 621"/>
                  <a:gd name="T37" fmla="*/ 9719 h 342"/>
                  <a:gd name="T38" fmla="*/ 670 w 621"/>
                  <a:gd name="T39" fmla="*/ 9719 h 342"/>
                  <a:gd name="T40" fmla="*/ 670 w 621"/>
                  <a:gd name="T41" fmla="*/ 9719 h 342"/>
                  <a:gd name="T42" fmla="*/ 670 w 621"/>
                  <a:gd name="T43" fmla="*/ 9719 h 342"/>
                  <a:gd name="T44" fmla="*/ 670 w 621"/>
                  <a:gd name="T45" fmla="*/ 0 h 342"/>
                  <a:gd name="T46" fmla="*/ 670 w 621"/>
                  <a:gd name="T47" fmla="*/ 0 h 342"/>
                  <a:gd name="T48" fmla="*/ 670 w 621"/>
                  <a:gd name="T49" fmla="*/ 9719 h 342"/>
                  <a:gd name="T50" fmla="*/ 670 w 621"/>
                  <a:gd name="T51" fmla="*/ 9719 h 342"/>
                  <a:gd name="T52" fmla="*/ 670 w 621"/>
                  <a:gd name="T53" fmla="*/ 9719 h 342"/>
                  <a:gd name="T54" fmla="*/ 670 w 621"/>
                  <a:gd name="T55" fmla="*/ 9719 h 342"/>
                  <a:gd name="T56" fmla="*/ 670 w 621"/>
                  <a:gd name="T57" fmla="*/ 9719 h 342"/>
                  <a:gd name="T58" fmla="*/ 670 w 621"/>
                  <a:gd name="T59" fmla="*/ 9719 h 342"/>
                  <a:gd name="T60" fmla="*/ 670 w 621"/>
                  <a:gd name="T61" fmla="*/ 9719 h 342"/>
                  <a:gd name="T62" fmla="*/ 670 w 621"/>
                  <a:gd name="T63" fmla="*/ 9719 h 342"/>
                  <a:gd name="T64" fmla="*/ 670 w 621"/>
                  <a:gd name="T65" fmla="*/ 9719 h 342"/>
                  <a:gd name="T66" fmla="*/ 670 w 621"/>
                  <a:gd name="T67" fmla="*/ 9719 h 342"/>
                  <a:gd name="T68" fmla="*/ 0 w 621"/>
                  <a:gd name="T69" fmla="*/ 9719 h 342"/>
                  <a:gd name="T70" fmla="*/ 0 w 621"/>
                  <a:gd name="T71" fmla="*/ 9719 h 342"/>
                  <a:gd name="T72" fmla="*/ 670 w 621"/>
                  <a:gd name="T73" fmla="*/ 9719 h 342"/>
                  <a:gd name="T74" fmla="*/ 670 w 621"/>
                  <a:gd name="T75" fmla="*/ 9719 h 342"/>
                  <a:gd name="T76" fmla="*/ 670 w 621"/>
                  <a:gd name="T77" fmla="*/ 9719 h 342"/>
                  <a:gd name="T78" fmla="*/ 670 w 621"/>
                  <a:gd name="T79" fmla="*/ 9719 h 342"/>
                  <a:gd name="T80" fmla="*/ 670 w 621"/>
                  <a:gd name="T81" fmla="*/ 9719 h 342"/>
                  <a:gd name="T82" fmla="*/ 670 w 621"/>
                  <a:gd name="T83" fmla="*/ 9719 h 342"/>
                  <a:gd name="T84" fmla="*/ 670 w 621"/>
                  <a:gd name="T85" fmla="*/ 9719 h 342"/>
                  <a:gd name="T86" fmla="*/ 670 w 621"/>
                  <a:gd name="T87" fmla="*/ 9719 h 342"/>
                  <a:gd name="T88" fmla="*/ 670 w 621"/>
                  <a:gd name="T89" fmla="*/ 9719 h 342"/>
                  <a:gd name="T90" fmla="*/ 670 w 621"/>
                  <a:gd name="T91" fmla="*/ 9719 h 342"/>
                  <a:gd name="T92" fmla="*/ 670 w 621"/>
                  <a:gd name="T93" fmla="*/ 9719 h 342"/>
                  <a:gd name="T94" fmla="*/ 670 w 621"/>
                  <a:gd name="T95" fmla="*/ 9719 h 342"/>
                  <a:gd name="T96" fmla="*/ 670 w 621"/>
                  <a:gd name="T97" fmla="*/ 9719 h 342"/>
                  <a:gd name="T98" fmla="*/ 670 w 621"/>
                  <a:gd name="T99" fmla="*/ 9719 h 342"/>
                  <a:gd name="T100" fmla="*/ 670 w 621"/>
                  <a:gd name="T101" fmla="*/ 9719 h 342"/>
                  <a:gd name="T102" fmla="*/ 670 w 621"/>
                  <a:gd name="T103" fmla="*/ 9719 h 342"/>
                  <a:gd name="T104" fmla="*/ 670 w 621"/>
                  <a:gd name="T105" fmla="*/ 9719 h 3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621" h="342">
                    <a:moveTo>
                      <a:pt x="502" y="342"/>
                    </a:moveTo>
                    <a:lnTo>
                      <a:pt x="514" y="342"/>
                    </a:lnTo>
                    <a:lnTo>
                      <a:pt x="526" y="308"/>
                    </a:lnTo>
                    <a:lnTo>
                      <a:pt x="556" y="308"/>
                    </a:lnTo>
                    <a:lnTo>
                      <a:pt x="568" y="308"/>
                    </a:lnTo>
                    <a:lnTo>
                      <a:pt x="579" y="278"/>
                    </a:lnTo>
                    <a:lnTo>
                      <a:pt x="588" y="258"/>
                    </a:lnTo>
                    <a:lnTo>
                      <a:pt x="621" y="234"/>
                    </a:lnTo>
                    <a:lnTo>
                      <a:pt x="610" y="204"/>
                    </a:lnTo>
                    <a:lnTo>
                      <a:pt x="599" y="181"/>
                    </a:lnTo>
                    <a:lnTo>
                      <a:pt x="568" y="149"/>
                    </a:lnTo>
                    <a:lnTo>
                      <a:pt x="568" y="139"/>
                    </a:lnTo>
                    <a:lnTo>
                      <a:pt x="546" y="139"/>
                    </a:lnTo>
                    <a:lnTo>
                      <a:pt x="546" y="85"/>
                    </a:lnTo>
                    <a:lnTo>
                      <a:pt x="546" y="74"/>
                    </a:lnTo>
                    <a:lnTo>
                      <a:pt x="526" y="62"/>
                    </a:lnTo>
                    <a:lnTo>
                      <a:pt x="514" y="42"/>
                    </a:lnTo>
                    <a:lnTo>
                      <a:pt x="480" y="42"/>
                    </a:lnTo>
                    <a:lnTo>
                      <a:pt x="437" y="54"/>
                    </a:lnTo>
                    <a:lnTo>
                      <a:pt x="407" y="31"/>
                    </a:lnTo>
                    <a:lnTo>
                      <a:pt x="395" y="20"/>
                    </a:lnTo>
                    <a:lnTo>
                      <a:pt x="365" y="11"/>
                    </a:lnTo>
                    <a:lnTo>
                      <a:pt x="353" y="0"/>
                    </a:lnTo>
                    <a:lnTo>
                      <a:pt x="322" y="0"/>
                    </a:lnTo>
                    <a:lnTo>
                      <a:pt x="288" y="11"/>
                    </a:lnTo>
                    <a:lnTo>
                      <a:pt x="268" y="31"/>
                    </a:lnTo>
                    <a:lnTo>
                      <a:pt x="256" y="31"/>
                    </a:lnTo>
                    <a:lnTo>
                      <a:pt x="256" y="105"/>
                    </a:lnTo>
                    <a:lnTo>
                      <a:pt x="226" y="149"/>
                    </a:lnTo>
                    <a:lnTo>
                      <a:pt x="172" y="139"/>
                    </a:lnTo>
                    <a:lnTo>
                      <a:pt x="137" y="97"/>
                    </a:lnTo>
                    <a:lnTo>
                      <a:pt x="95" y="62"/>
                    </a:lnTo>
                    <a:lnTo>
                      <a:pt x="42" y="85"/>
                    </a:lnTo>
                    <a:lnTo>
                      <a:pt x="22" y="159"/>
                    </a:lnTo>
                    <a:lnTo>
                      <a:pt x="0" y="212"/>
                    </a:lnTo>
                    <a:lnTo>
                      <a:pt x="0" y="300"/>
                    </a:lnTo>
                    <a:lnTo>
                      <a:pt x="11" y="331"/>
                    </a:lnTo>
                    <a:lnTo>
                      <a:pt x="22" y="331"/>
                    </a:lnTo>
                    <a:lnTo>
                      <a:pt x="42" y="308"/>
                    </a:lnTo>
                    <a:lnTo>
                      <a:pt x="95" y="278"/>
                    </a:lnTo>
                    <a:lnTo>
                      <a:pt x="137" y="266"/>
                    </a:lnTo>
                    <a:lnTo>
                      <a:pt x="149" y="278"/>
                    </a:lnTo>
                    <a:lnTo>
                      <a:pt x="172" y="266"/>
                    </a:lnTo>
                    <a:lnTo>
                      <a:pt x="226" y="266"/>
                    </a:lnTo>
                    <a:lnTo>
                      <a:pt x="279" y="278"/>
                    </a:lnTo>
                    <a:lnTo>
                      <a:pt x="299" y="266"/>
                    </a:lnTo>
                    <a:lnTo>
                      <a:pt x="322" y="246"/>
                    </a:lnTo>
                    <a:lnTo>
                      <a:pt x="330" y="246"/>
                    </a:lnTo>
                    <a:lnTo>
                      <a:pt x="353" y="278"/>
                    </a:lnTo>
                    <a:lnTo>
                      <a:pt x="395" y="278"/>
                    </a:lnTo>
                    <a:lnTo>
                      <a:pt x="437" y="300"/>
                    </a:lnTo>
                    <a:lnTo>
                      <a:pt x="472" y="331"/>
                    </a:lnTo>
                    <a:lnTo>
                      <a:pt x="502" y="342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79" name="Freeform 64"/>
              <p:cNvSpPr>
                <a:spLocks/>
              </p:cNvSpPr>
              <p:nvPr/>
            </p:nvSpPr>
            <p:spPr bwMode="auto">
              <a:xfrm>
                <a:off x="4251318" y="1821035"/>
                <a:ext cx="265285" cy="211138"/>
              </a:xfrm>
              <a:custGeom>
                <a:avLst/>
                <a:gdLst>
                  <a:gd name="T0" fmla="*/ 523 w 365"/>
                  <a:gd name="T1" fmla="*/ 9034 h 322"/>
                  <a:gd name="T2" fmla="*/ 523 w 365"/>
                  <a:gd name="T3" fmla="*/ 9034 h 322"/>
                  <a:gd name="T4" fmla="*/ 523 w 365"/>
                  <a:gd name="T5" fmla="*/ 9034 h 322"/>
                  <a:gd name="T6" fmla="*/ 523 w 365"/>
                  <a:gd name="T7" fmla="*/ 9034 h 322"/>
                  <a:gd name="T8" fmla="*/ 523 w 365"/>
                  <a:gd name="T9" fmla="*/ 9034 h 322"/>
                  <a:gd name="T10" fmla="*/ 523 w 365"/>
                  <a:gd name="T11" fmla="*/ 9034 h 322"/>
                  <a:gd name="T12" fmla="*/ 523 w 365"/>
                  <a:gd name="T13" fmla="*/ 9034 h 322"/>
                  <a:gd name="T14" fmla="*/ 523 w 365"/>
                  <a:gd name="T15" fmla="*/ 9034 h 322"/>
                  <a:gd name="T16" fmla="*/ 523 w 365"/>
                  <a:gd name="T17" fmla="*/ 9034 h 322"/>
                  <a:gd name="T18" fmla="*/ 523 w 365"/>
                  <a:gd name="T19" fmla="*/ 9034 h 322"/>
                  <a:gd name="T20" fmla="*/ 523 w 365"/>
                  <a:gd name="T21" fmla="*/ 9034 h 322"/>
                  <a:gd name="T22" fmla="*/ 523 w 365"/>
                  <a:gd name="T23" fmla="*/ 9034 h 322"/>
                  <a:gd name="T24" fmla="*/ 523 w 365"/>
                  <a:gd name="T25" fmla="*/ 9034 h 322"/>
                  <a:gd name="T26" fmla="*/ 523 w 365"/>
                  <a:gd name="T27" fmla="*/ 9034 h 322"/>
                  <a:gd name="T28" fmla="*/ 523 w 365"/>
                  <a:gd name="T29" fmla="*/ 0 h 322"/>
                  <a:gd name="T30" fmla="*/ 523 w 365"/>
                  <a:gd name="T31" fmla="*/ 9034 h 322"/>
                  <a:gd name="T32" fmla="*/ 523 w 365"/>
                  <a:gd name="T33" fmla="*/ 9034 h 322"/>
                  <a:gd name="T34" fmla="*/ 523 w 365"/>
                  <a:gd name="T35" fmla="*/ 9034 h 322"/>
                  <a:gd name="T36" fmla="*/ 0 w 365"/>
                  <a:gd name="T37" fmla="*/ 9034 h 322"/>
                  <a:gd name="T38" fmla="*/ 523 w 365"/>
                  <a:gd name="T39" fmla="*/ 9034 h 322"/>
                  <a:gd name="T40" fmla="*/ 523 w 365"/>
                  <a:gd name="T41" fmla="*/ 9034 h 322"/>
                  <a:gd name="T42" fmla="*/ 523 w 365"/>
                  <a:gd name="T43" fmla="*/ 9034 h 322"/>
                  <a:gd name="T44" fmla="*/ 523 w 365"/>
                  <a:gd name="T45" fmla="*/ 9034 h 322"/>
                  <a:gd name="T46" fmla="*/ 523 w 365"/>
                  <a:gd name="T47" fmla="*/ 9034 h 322"/>
                  <a:gd name="T48" fmla="*/ 523 w 365"/>
                  <a:gd name="T49" fmla="*/ 9034 h 322"/>
                  <a:gd name="T50" fmla="*/ 523 w 365"/>
                  <a:gd name="T51" fmla="*/ 9034 h 322"/>
                  <a:gd name="T52" fmla="*/ 523 w 365"/>
                  <a:gd name="T53" fmla="*/ 9034 h 322"/>
                  <a:gd name="T54" fmla="*/ 523 w 365"/>
                  <a:gd name="T55" fmla="*/ 9034 h 322"/>
                  <a:gd name="T56" fmla="*/ 523 w 365"/>
                  <a:gd name="T57" fmla="*/ 9034 h 322"/>
                  <a:gd name="T58" fmla="*/ 523 w 365"/>
                  <a:gd name="T59" fmla="*/ 9034 h 322"/>
                  <a:gd name="T60" fmla="*/ 523 w 365"/>
                  <a:gd name="T61" fmla="*/ 9034 h 322"/>
                  <a:gd name="T62" fmla="*/ 523 w 365"/>
                  <a:gd name="T63" fmla="*/ 9034 h 322"/>
                  <a:gd name="T64" fmla="*/ 523 w 365"/>
                  <a:gd name="T65" fmla="*/ 9034 h 32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365" h="322">
                    <a:moveTo>
                      <a:pt x="353" y="310"/>
                    </a:moveTo>
                    <a:lnTo>
                      <a:pt x="341" y="299"/>
                    </a:lnTo>
                    <a:lnTo>
                      <a:pt x="353" y="268"/>
                    </a:lnTo>
                    <a:lnTo>
                      <a:pt x="365" y="256"/>
                    </a:lnTo>
                    <a:lnTo>
                      <a:pt x="365" y="234"/>
                    </a:lnTo>
                    <a:lnTo>
                      <a:pt x="341" y="223"/>
                    </a:lnTo>
                    <a:lnTo>
                      <a:pt x="319" y="191"/>
                    </a:lnTo>
                    <a:lnTo>
                      <a:pt x="311" y="191"/>
                    </a:lnTo>
                    <a:lnTo>
                      <a:pt x="299" y="149"/>
                    </a:lnTo>
                    <a:lnTo>
                      <a:pt x="276" y="129"/>
                    </a:lnTo>
                    <a:lnTo>
                      <a:pt x="276" y="119"/>
                    </a:lnTo>
                    <a:lnTo>
                      <a:pt x="288" y="107"/>
                    </a:lnTo>
                    <a:lnTo>
                      <a:pt x="341" y="84"/>
                    </a:lnTo>
                    <a:lnTo>
                      <a:pt x="365" y="30"/>
                    </a:lnTo>
                    <a:lnTo>
                      <a:pt x="331" y="0"/>
                    </a:lnTo>
                    <a:lnTo>
                      <a:pt x="246" y="22"/>
                    </a:lnTo>
                    <a:lnTo>
                      <a:pt x="169" y="10"/>
                    </a:lnTo>
                    <a:lnTo>
                      <a:pt x="42" y="53"/>
                    </a:lnTo>
                    <a:lnTo>
                      <a:pt x="0" y="95"/>
                    </a:lnTo>
                    <a:lnTo>
                      <a:pt x="11" y="161"/>
                    </a:lnTo>
                    <a:lnTo>
                      <a:pt x="31" y="214"/>
                    </a:lnTo>
                    <a:lnTo>
                      <a:pt x="85" y="223"/>
                    </a:lnTo>
                    <a:lnTo>
                      <a:pt x="95" y="299"/>
                    </a:lnTo>
                    <a:lnTo>
                      <a:pt x="107" y="299"/>
                    </a:lnTo>
                    <a:lnTo>
                      <a:pt x="127" y="279"/>
                    </a:lnTo>
                    <a:lnTo>
                      <a:pt x="161" y="268"/>
                    </a:lnTo>
                    <a:lnTo>
                      <a:pt x="192" y="268"/>
                    </a:lnTo>
                    <a:lnTo>
                      <a:pt x="204" y="279"/>
                    </a:lnTo>
                    <a:lnTo>
                      <a:pt x="234" y="288"/>
                    </a:lnTo>
                    <a:lnTo>
                      <a:pt x="246" y="299"/>
                    </a:lnTo>
                    <a:lnTo>
                      <a:pt x="276" y="322"/>
                    </a:lnTo>
                    <a:lnTo>
                      <a:pt x="319" y="310"/>
                    </a:lnTo>
                    <a:lnTo>
                      <a:pt x="353" y="31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0" name="Freeform 65"/>
              <p:cNvSpPr>
                <a:spLocks/>
              </p:cNvSpPr>
              <p:nvPr/>
            </p:nvSpPr>
            <p:spPr bwMode="auto">
              <a:xfrm>
                <a:off x="3116847" y="2317923"/>
                <a:ext cx="629782" cy="747713"/>
              </a:xfrm>
              <a:custGeom>
                <a:avLst/>
                <a:gdLst>
                  <a:gd name="T0" fmla="*/ 621 w 856"/>
                  <a:gd name="T1" fmla="*/ 0 h 1144"/>
                  <a:gd name="T2" fmla="*/ 621 w 856"/>
                  <a:gd name="T3" fmla="*/ 8635 h 1144"/>
                  <a:gd name="T4" fmla="*/ 621 w 856"/>
                  <a:gd name="T5" fmla="*/ 8635 h 1144"/>
                  <a:gd name="T6" fmla="*/ 621 w 856"/>
                  <a:gd name="T7" fmla="*/ 8635 h 1144"/>
                  <a:gd name="T8" fmla="*/ 621 w 856"/>
                  <a:gd name="T9" fmla="*/ 8635 h 1144"/>
                  <a:gd name="T10" fmla="*/ 621 w 856"/>
                  <a:gd name="T11" fmla="*/ 8635 h 1144"/>
                  <a:gd name="T12" fmla="*/ 621 w 856"/>
                  <a:gd name="T13" fmla="*/ 8635 h 1144"/>
                  <a:gd name="T14" fmla="*/ 621 w 856"/>
                  <a:gd name="T15" fmla="*/ 8635 h 1144"/>
                  <a:gd name="T16" fmla="*/ 621 w 856"/>
                  <a:gd name="T17" fmla="*/ 8635 h 1144"/>
                  <a:gd name="T18" fmla="*/ 621 w 856"/>
                  <a:gd name="T19" fmla="*/ 8635 h 1144"/>
                  <a:gd name="T20" fmla="*/ 0 w 856"/>
                  <a:gd name="T21" fmla="*/ 8635 h 1144"/>
                  <a:gd name="T22" fmla="*/ 621 w 856"/>
                  <a:gd name="T23" fmla="*/ 8635 h 1144"/>
                  <a:gd name="T24" fmla="*/ 621 w 856"/>
                  <a:gd name="T25" fmla="*/ 8635 h 1144"/>
                  <a:gd name="T26" fmla="*/ 621 w 856"/>
                  <a:gd name="T27" fmla="*/ 8635 h 1144"/>
                  <a:gd name="T28" fmla="*/ 621 w 856"/>
                  <a:gd name="T29" fmla="*/ 8635 h 1144"/>
                  <a:gd name="T30" fmla="*/ 621 w 856"/>
                  <a:gd name="T31" fmla="*/ 8635 h 1144"/>
                  <a:gd name="T32" fmla="*/ 621 w 856"/>
                  <a:gd name="T33" fmla="*/ 8635 h 1144"/>
                  <a:gd name="T34" fmla="*/ 621 w 856"/>
                  <a:gd name="T35" fmla="*/ 8635 h 1144"/>
                  <a:gd name="T36" fmla="*/ 621 w 856"/>
                  <a:gd name="T37" fmla="*/ 8635 h 1144"/>
                  <a:gd name="T38" fmla="*/ 621 w 856"/>
                  <a:gd name="T39" fmla="*/ 8635 h 1144"/>
                  <a:gd name="T40" fmla="*/ 621 w 856"/>
                  <a:gd name="T41" fmla="*/ 8635 h 1144"/>
                  <a:gd name="T42" fmla="*/ 621 w 856"/>
                  <a:gd name="T43" fmla="*/ 8635 h 1144"/>
                  <a:gd name="T44" fmla="*/ 621 w 856"/>
                  <a:gd name="T45" fmla="*/ 8635 h 1144"/>
                  <a:gd name="T46" fmla="*/ 621 w 856"/>
                  <a:gd name="T47" fmla="*/ 8635 h 1144"/>
                  <a:gd name="T48" fmla="*/ 621 w 856"/>
                  <a:gd name="T49" fmla="*/ 8635 h 1144"/>
                  <a:gd name="T50" fmla="*/ 621 w 856"/>
                  <a:gd name="T51" fmla="*/ 8635 h 1144"/>
                  <a:gd name="T52" fmla="*/ 621 w 856"/>
                  <a:gd name="T53" fmla="*/ 8635 h 1144"/>
                  <a:gd name="T54" fmla="*/ 621 w 856"/>
                  <a:gd name="T55" fmla="*/ 8635 h 1144"/>
                  <a:gd name="T56" fmla="*/ 621 w 856"/>
                  <a:gd name="T57" fmla="*/ 8635 h 1144"/>
                  <a:gd name="T58" fmla="*/ 621 w 856"/>
                  <a:gd name="T59" fmla="*/ 8635 h 1144"/>
                  <a:gd name="T60" fmla="*/ 621 w 856"/>
                  <a:gd name="T61" fmla="*/ 8635 h 1144"/>
                  <a:gd name="T62" fmla="*/ 621 w 856"/>
                  <a:gd name="T63" fmla="*/ 8635 h 1144"/>
                  <a:gd name="T64" fmla="*/ 621 w 856"/>
                  <a:gd name="T65" fmla="*/ 8635 h 1144"/>
                  <a:gd name="T66" fmla="*/ 621 w 856"/>
                  <a:gd name="T67" fmla="*/ 8635 h 1144"/>
                  <a:gd name="T68" fmla="*/ 621 w 856"/>
                  <a:gd name="T69" fmla="*/ 8635 h 1144"/>
                  <a:gd name="T70" fmla="*/ 621 w 856"/>
                  <a:gd name="T71" fmla="*/ 8635 h 1144"/>
                  <a:gd name="T72" fmla="*/ 621 w 856"/>
                  <a:gd name="T73" fmla="*/ 8635 h 1144"/>
                  <a:gd name="T74" fmla="*/ 621 w 856"/>
                  <a:gd name="T75" fmla="*/ 0 h 1144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856" h="1144">
                    <a:moveTo>
                      <a:pt x="399" y="0"/>
                    </a:moveTo>
                    <a:lnTo>
                      <a:pt x="352" y="0"/>
                    </a:lnTo>
                    <a:lnTo>
                      <a:pt x="322" y="0"/>
                    </a:lnTo>
                    <a:lnTo>
                      <a:pt x="344" y="65"/>
                    </a:lnTo>
                    <a:lnTo>
                      <a:pt x="310" y="84"/>
                    </a:lnTo>
                    <a:lnTo>
                      <a:pt x="344" y="127"/>
                    </a:lnTo>
                    <a:lnTo>
                      <a:pt x="302" y="161"/>
                    </a:lnTo>
                    <a:lnTo>
                      <a:pt x="290" y="203"/>
                    </a:lnTo>
                    <a:lnTo>
                      <a:pt x="248" y="181"/>
                    </a:lnTo>
                    <a:lnTo>
                      <a:pt x="183" y="169"/>
                    </a:lnTo>
                    <a:lnTo>
                      <a:pt x="161" y="235"/>
                    </a:lnTo>
                    <a:lnTo>
                      <a:pt x="129" y="310"/>
                    </a:lnTo>
                    <a:lnTo>
                      <a:pt x="107" y="330"/>
                    </a:lnTo>
                    <a:lnTo>
                      <a:pt x="129" y="373"/>
                    </a:lnTo>
                    <a:lnTo>
                      <a:pt x="99" y="395"/>
                    </a:lnTo>
                    <a:lnTo>
                      <a:pt x="64" y="437"/>
                    </a:lnTo>
                    <a:lnTo>
                      <a:pt x="34" y="437"/>
                    </a:lnTo>
                    <a:lnTo>
                      <a:pt x="22" y="503"/>
                    </a:lnTo>
                    <a:lnTo>
                      <a:pt x="12" y="546"/>
                    </a:lnTo>
                    <a:lnTo>
                      <a:pt x="12" y="599"/>
                    </a:lnTo>
                    <a:lnTo>
                      <a:pt x="22" y="641"/>
                    </a:lnTo>
                    <a:lnTo>
                      <a:pt x="0" y="684"/>
                    </a:lnTo>
                    <a:lnTo>
                      <a:pt x="12" y="737"/>
                    </a:lnTo>
                    <a:lnTo>
                      <a:pt x="12" y="780"/>
                    </a:lnTo>
                    <a:lnTo>
                      <a:pt x="45" y="814"/>
                    </a:lnTo>
                    <a:lnTo>
                      <a:pt x="64" y="834"/>
                    </a:lnTo>
                    <a:lnTo>
                      <a:pt x="153" y="864"/>
                    </a:lnTo>
                    <a:lnTo>
                      <a:pt x="173" y="906"/>
                    </a:lnTo>
                    <a:lnTo>
                      <a:pt x="141" y="941"/>
                    </a:lnTo>
                    <a:lnTo>
                      <a:pt x="107" y="1048"/>
                    </a:lnTo>
                    <a:lnTo>
                      <a:pt x="107" y="1080"/>
                    </a:lnTo>
                    <a:lnTo>
                      <a:pt x="161" y="1090"/>
                    </a:lnTo>
                    <a:lnTo>
                      <a:pt x="248" y="1090"/>
                    </a:lnTo>
                    <a:lnTo>
                      <a:pt x="302" y="1122"/>
                    </a:lnTo>
                    <a:lnTo>
                      <a:pt x="322" y="1110"/>
                    </a:lnTo>
                    <a:lnTo>
                      <a:pt x="352" y="1122"/>
                    </a:lnTo>
                    <a:lnTo>
                      <a:pt x="376" y="1144"/>
                    </a:lnTo>
                    <a:lnTo>
                      <a:pt x="409" y="1122"/>
                    </a:lnTo>
                    <a:lnTo>
                      <a:pt x="461" y="1144"/>
                    </a:lnTo>
                    <a:lnTo>
                      <a:pt x="590" y="1102"/>
                    </a:lnTo>
                    <a:lnTo>
                      <a:pt x="622" y="1110"/>
                    </a:lnTo>
                    <a:lnTo>
                      <a:pt x="664" y="1110"/>
                    </a:lnTo>
                    <a:lnTo>
                      <a:pt x="644" y="1048"/>
                    </a:lnTo>
                    <a:lnTo>
                      <a:pt x="706" y="973"/>
                    </a:lnTo>
                    <a:lnTo>
                      <a:pt x="751" y="953"/>
                    </a:lnTo>
                    <a:lnTo>
                      <a:pt x="675" y="876"/>
                    </a:lnTo>
                    <a:lnTo>
                      <a:pt x="622" y="834"/>
                    </a:lnTo>
                    <a:lnTo>
                      <a:pt x="610" y="780"/>
                    </a:lnTo>
                    <a:lnTo>
                      <a:pt x="590" y="749"/>
                    </a:lnTo>
                    <a:lnTo>
                      <a:pt x="580" y="707"/>
                    </a:lnTo>
                    <a:lnTo>
                      <a:pt x="610" y="707"/>
                    </a:lnTo>
                    <a:lnTo>
                      <a:pt x="706" y="673"/>
                    </a:lnTo>
                    <a:lnTo>
                      <a:pt x="741" y="653"/>
                    </a:lnTo>
                    <a:lnTo>
                      <a:pt x="783" y="630"/>
                    </a:lnTo>
                    <a:lnTo>
                      <a:pt x="803" y="599"/>
                    </a:lnTo>
                    <a:lnTo>
                      <a:pt x="848" y="630"/>
                    </a:lnTo>
                    <a:lnTo>
                      <a:pt x="856" y="588"/>
                    </a:lnTo>
                    <a:lnTo>
                      <a:pt x="848" y="546"/>
                    </a:lnTo>
                    <a:lnTo>
                      <a:pt x="825" y="514"/>
                    </a:lnTo>
                    <a:lnTo>
                      <a:pt x="813" y="353"/>
                    </a:lnTo>
                    <a:lnTo>
                      <a:pt x="794" y="320"/>
                    </a:lnTo>
                    <a:lnTo>
                      <a:pt x="803" y="277"/>
                    </a:lnTo>
                    <a:lnTo>
                      <a:pt x="803" y="235"/>
                    </a:lnTo>
                    <a:lnTo>
                      <a:pt x="794" y="191"/>
                    </a:lnTo>
                    <a:lnTo>
                      <a:pt x="771" y="161"/>
                    </a:lnTo>
                    <a:lnTo>
                      <a:pt x="717" y="127"/>
                    </a:lnTo>
                    <a:lnTo>
                      <a:pt x="751" y="107"/>
                    </a:lnTo>
                    <a:lnTo>
                      <a:pt x="729" y="54"/>
                    </a:lnTo>
                    <a:lnTo>
                      <a:pt x="687" y="96"/>
                    </a:lnTo>
                    <a:lnTo>
                      <a:pt x="632" y="107"/>
                    </a:lnTo>
                    <a:lnTo>
                      <a:pt x="560" y="161"/>
                    </a:lnTo>
                    <a:lnTo>
                      <a:pt x="494" y="149"/>
                    </a:lnTo>
                    <a:lnTo>
                      <a:pt x="514" y="107"/>
                    </a:lnTo>
                    <a:lnTo>
                      <a:pt x="429" y="65"/>
                    </a:lnTo>
                    <a:lnTo>
                      <a:pt x="441" y="32"/>
                    </a:lnTo>
                    <a:lnTo>
                      <a:pt x="399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1" name="Freeform 66"/>
              <p:cNvSpPr>
                <a:spLocks/>
              </p:cNvSpPr>
              <p:nvPr/>
            </p:nvSpPr>
            <p:spPr bwMode="auto">
              <a:xfrm>
                <a:off x="3541734" y="2710035"/>
                <a:ext cx="457239" cy="241300"/>
              </a:xfrm>
              <a:custGeom>
                <a:avLst/>
                <a:gdLst>
                  <a:gd name="T0" fmla="*/ 671 w 618"/>
                  <a:gd name="T1" fmla="*/ 7203 h 374"/>
                  <a:gd name="T2" fmla="*/ 671 w 618"/>
                  <a:gd name="T3" fmla="*/ 0 h 374"/>
                  <a:gd name="T4" fmla="*/ 671 w 618"/>
                  <a:gd name="T5" fmla="*/ 7203 h 374"/>
                  <a:gd name="T6" fmla="*/ 671 w 618"/>
                  <a:gd name="T7" fmla="*/ 7203 h 374"/>
                  <a:gd name="T8" fmla="*/ 671 w 618"/>
                  <a:gd name="T9" fmla="*/ 7203 h 374"/>
                  <a:gd name="T10" fmla="*/ 671 w 618"/>
                  <a:gd name="T11" fmla="*/ 7203 h 374"/>
                  <a:gd name="T12" fmla="*/ 0 w 618"/>
                  <a:gd name="T13" fmla="*/ 7203 h 374"/>
                  <a:gd name="T14" fmla="*/ 671 w 618"/>
                  <a:gd name="T15" fmla="*/ 7203 h 374"/>
                  <a:gd name="T16" fmla="*/ 671 w 618"/>
                  <a:gd name="T17" fmla="*/ 7203 h 374"/>
                  <a:gd name="T18" fmla="*/ 671 w 618"/>
                  <a:gd name="T19" fmla="*/ 7203 h 374"/>
                  <a:gd name="T20" fmla="*/ 671 w 618"/>
                  <a:gd name="T21" fmla="*/ 7203 h 374"/>
                  <a:gd name="T22" fmla="*/ 671 w 618"/>
                  <a:gd name="T23" fmla="*/ 7203 h 374"/>
                  <a:gd name="T24" fmla="*/ 671 w 618"/>
                  <a:gd name="T25" fmla="*/ 7203 h 374"/>
                  <a:gd name="T26" fmla="*/ 671 w 618"/>
                  <a:gd name="T27" fmla="*/ 7203 h 374"/>
                  <a:gd name="T28" fmla="*/ 671 w 618"/>
                  <a:gd name="T29" fmla="*/ 7203 h 374"/>
                  <a:gd name="T30" fmla="*/ 671 w 618"/>
                  <a:gd name="T31" fmla="*/ 7203 h 374"/>
                  <a:gd name="T32" fmla="*/ 671 w 618"/>
                  <a:gd name="T33" fmla="*/ 7203 h 374"/>
                  <a:gd name="T34" fmla="*/ 671 w 618"/>
                  <a:gd name="T35" fmla="*/ 7203 h 374"/>
                  <a:gd name="T36" fmla="*/ 671 w 618"/>
                  <a:gd name="T37" fmla="*/ 7203 h 374"/>
                  <a:gd name="T38" fmla="*/ 671 w 618"/>
                  <a:gd name="T39" fmla="*/ 7203 h 374"/>
                  <a:gd name="T40" fmla="*/ 671 w 618"/>
                  <a:gd name="T41" fmla="*/ 7203 h 374"/>
                  <a:gd name="T42" fmla="*/ 671 w 618"/>
                  <a:gd name="T43" fmla="*/ 7203 h 374"/>
                  <a:gd name="T44" fmla="*/ 671 w 618"/>
                  <a:gd name="T45" fmla="*/ 7203 h 374"/>
                  <a:gd name="T46" fmla="*/ 671 w 618"/>
                  <a:gd name="T47" fmla="*/ 7203 h 374"/>
                  <a:gd name="T48" fmla="*/ 671 w 618"/>
                  <a:gd name="T49" fmla="*/ 7203 h 374"/>
                  <a:gd name="T50" fmla="*/ 671 w 618"/>
                  <a:gd name="T51" fmla="*/ 7203 h 374"/>
                  <a:gd name="T52" fmla="*/ 671 w 618"/>
                  <a:gd name="T53" fmla="*/ 7203 h 374"/>
                  <a:gd name="T54" fmla="*/ 671 w 618"/>
                  <a:gd name="T55" fmla="*/ 7203 h 374"/>
                  <a:gd name="T56" fmla="*/ 671 w 618"/>
                  <a:gd name="T57" fmla="*/ 7203 h 37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18" h="374">
                    <a:moveTo>
                      <a:pt x="268" y="31"/>
                    </a:moveTo>
                    <a:lnTo>
                      <a:pt x="223" y="0"/>
                    </a:lnTo>
                    <a:lnTo>
                      <a:pt x="203" y="31"/>
                    </a:lnTo>
                    <a:lnTo>
                      <a:pt x="161" y="54"/>
                    </a:lnTo>
                    <a:lnTo>
                      <a:pt x="126" y="74"/>
                    </a:lnTo>
                    <a:lnTo>
                      <a:pt x="30" y="108"/>
                    </a:lnTo>
                    <a:lnTo>
                      <a:pt x="0" y="108"/>
                    </a:lnTo>
                    <a:lnTo>
                      <a:pt x="10" y="150"/>
                    </a:lnTo>
                    <a:lnTo>
                      <a:pt x="30" y="181"/>
                    </a:lnTo>
                    <a:lnTo>
                      <a:pt x="42" y="235"/>
                    </a:lnTo>
                    <a:lnTo>
                      <a:pt x="95" y="277"/>
                    </a:lnTo>
                    <a:lnTo>
                      <a:pt x="171" y="354"/>
                    </a:lnTo>
                    <a:lnTo>
                      <a:pt x="223" y="374"/>
                    </a:lnTo>
                    <a:lnTo>
                      <a:pt x="256" y="364"/>
                    </a:lnTo>
                    <a:lnTo>
                      <a:pt x="298" y="319"/>
                    </a:lnTo>
                    <a:lnTo>
                      <a:pt x="372" y="331"/>
                    </a:lnTo>
                    <a:lnTo>
                      <a:pt x="395" y="354"/>
                    </a:lnTo>
                    <a:lnTo>
                      <a:pt x="459" y="342"/>
                    </a:lnTo>
                    <a:lnTo>
                      <a:pt x="618" y="195"/>
                    </a:lnTo>
                    <a:lnTo>
                      <a:pt x="568" y="158"/>
                    </a:lnTo>
                    <a:lnTo>
                      <a:pt x="533" y="116"/>
                    </a:lnTo>
                    <a:lnTo>
                      <a:pt x="471" y="96"/>
                    </a:lnTo>
                    <a:lnTo>
                      <a:pt x="459" y="138"/>
                    </a:lnTo>
                    <a:lnTo>
                      <a:pt x="429" y="116"/>
                    </a:lnTo>
                    <a:lnTo>
                      <a:pt x="395" y="66"/>
                    </a:lnTo>
                    <a:lnTo>
                      <a:pt x="364" y="42"/>
                    </a:lnTo>
                    <a:lnTo>
                      <a:pt x="330" y="42"/>
                    </a:lnTo>
                    <a:lnTo>
                      <a:pt x="298" y="9"/>
                    </a:lnTo>
                    <a:lnTo>
                      <a:pt x="268" y="31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2" name="Freeform 67"/>
              <p:cNvSpPr>
                <a:spLocks/>
              </p:cNvSpPr>
              <p:nvPr/>
            </p:nvSpPr>
            <p:spPr bwMode="auto">
              <a:xfrm>
                <a:off x="4564052" y="1576560"/>
                <a:ext cx="166073" cy="161925"/>
              </a:xfrm>
              <a:custGeom>
                <a:avLst/>
                <a:gdLst>
                  <a:gd name="T0" fmla="*/ 0 w 226"/>
                  <a:gd name="T1" fmla="*/ 9007 h 247"/>
                  <a:gd name="T2" fmla="*/ 610 w 226"/>
                  <a:gd name="T3" fmla="*/ 9007 h 247"/>
                  <a:gd name="T4" fmla="*/ 610 w 226"/>
                  <a:gd name="T5" fmla="*/ 9007 h 247"/>
                  <a:gd name="T6" fmla="*/ 610 w 226"/>
                  <a:gd name="T7" fmla="*/ 9007 h 247"/>
                  <a:gd name="T8" fmla="*/ 610 w 226"/>
                  <a:gd name="T9" fmla="*/ 9007 h 247"/>
                  <a:gd name="T10" fmla="*/ 610 w 226"/>
                  <a:gd name="T11" fmla="*/ 9007 h 247"/>
                  <a:gd name="T12" fmla="*/ 610 w 226"/>
                  <a:gd name="T13" fmla="*/ 9007 h 247"/>
                  <a:gd name="T14" fmla="*/ 610 w 226"/>
                  <a:gd name="T15" fmla="*/ 9007 h 247"/>
                  <a:gd name="T16" fmla="*/ 610 w 226"/>
                  <a:gd name="T17" fmla="*/ 9007 h 247"/>
                  <a:gd name="T18" fmla="*/ 610 w 226"/>
                  <a:gd name="T19" fmla="*/ 9007 h 247"/>
                  <a:gd name="T20" fmla="*/ 610 w 226"/>
                  <a:gd name="T21" fmla="*/ 9007 h 247"/>
                  <a:gd name="T22" fmla="*/ 610 w 226"/>
                  <a:gd name="T23" fmla="*/ 0 h 247"/>
                  <a:gd name="T24" fmla="*/ 610 w 226"/>
                  <a:gd name="T25" fmla="*/ 9007 h 247"/>
                  <a:gd name="T26" fmla="*/ 0 w 226"/>
                  <a:gd name="T27" fmla="*/ 9007 h 247"/>
                  <a:gd name="T28" fmla="*/ 0 w 226"/>
                  <a:gd name="T29" fmla="*/ 9007 h 24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26" h="247">
                    <a:moveTo>
                      <a:pt x="0" y="96"/>
                    </a:moveTo>
                    <a:lnTo>
                      <a:pt x="53" y="139"/>
                    </a:lnTo>
                    <a:lnTo>
                      <a:pt x="87" y="193"/>
                    </a:lnTo>
                    <a:lnTo>
                      <a:pt x="118" y="247"/>
                    </a:lnTo>
                    <a:lnTo>
                      <a:pt x="141" y="247"/>
                    </a:lnTo>
                    <a:lnTo>
                      <a:pt x="149" y="203"/>
                    </a:lnTo>
                    <a:lnTo>
                      <a:pt x="203" y="193"/>
                    </a:lnTo>
                    <a:lnTo>
                      <a:pt x="226" y="128"/>
                    </a:lnTo>
                    <a:lnTo>
                      <a:pt x="203" y="86"/>
                    </a:lnTo>
                    <a:lnTo>
                      <a:pt x="172" y="43"/>
                    </a:lnTo>
                    <a:lnTo>
                      <a:pt x="118" y="32"/>
                    </a:lnTo>
                    <a:lnTo>
                      <a:pt x="75" y="0"/>
                    </a:lnTo>
                    <a:lnTo>
                      <a:pt x="33" y="9"/>
                    </a:lnTo>
                    <a:lnTo>
                      <a:pt x="0" y="51"/>
                    </a:lnTo>
                    <a:lnTo>
                      <a:pt x="0" y="96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3" name="Freeform 68"/>
              <p:cNvSpPr>
                <a:spLocks/>
              </p:cNvSpPr>
              <p:nvPr/>
            </p:nvSpPr>
            <p:spPr bwMode="auto">
              <a:xfrm>
                <a:off x="4751693" y="1424160"/>
                <a:ext cx="144505" cy="160338"/>
              </a:xfrm>
              <a:custGeom>
                <a:avLst/>
                <a:gdLst>
                  <a:gd name="T0" fmla="*/ 793 w 193"/>
                  <a:gd name="T1" fmla="*/ 8305 h 246"/>
                  <a:gd name="T2" fmla="*/ 793 w 193"/>
                  <a:gd name="T3" fmla="*/ 8305 h 246"/>
                  <a:gd name="T4" fmla="*/ 793 w 193"/>
                  <a:gd name="T5" fmla="*/ 8305 h 246"/>
                  <a:gd name="T6" fmla="*/ 793 w 193"/>
                  <a:gd name="T7" fmla="*/ 8305 h 246"/>
                  <a:gd name="T8" fmla="*/ 793 w 193"/>
                  <a:gd name="T9" fmla="*/ 8305 h 246"/>
                  <a:gd name="T10" fmla="*/ 793 w 193"/>
                  <a:gd name="T11" fmla="*/ 8305 h 246"/>
                  <a:gd name="T12" fmla="*/ 793 w 193"/>
                  <a:gd name="T13" fmla="*/ 0 h 246"/>
                  <a:gd name="T14" fmla="*/ 0 w 193"/>
                  <a:gd name="T15" fmla="*/ 0 h 246"/>
                  <a:gd name="T16" fmla="*/ 793 w 193"/>
                  <a:gd name="T17" fmla="*/ 8305 h 246"/>
                  <a:gd name="T18" fmla="*/ 793 w 193"/>
                  <a:gd name="T19" fmla="*/ 8305 h 246"/>
                  <a:gd name="T20" fmla="*/ 793 w 193"/>
                  <a:gd name="T21" fmla="*/ 8305 h 246"/>
                  <a:gd name="T22" fmla="*/ 793 w 193"/>
                  <a:gd name="T23" fmla="*/ 8305 h 246"/>
                  <a:gd name="T24" fmla="*/ 793 w 193"/>
                  <a:gd name="T25" fmla="*/ 8305 h 246"/>
                  <a:gd name="T26" fmla="*/ 793 w 193"/>
                  <a:gd name="T27" fmla="*/ 8305 h 246"/>
                  <a:gd name="T28" fmla="*/ 793 w 193"/>
                  <a:gd name="T29" fmla="*/ 8305 h 246"/>
                  <a:gd name="T30" fmla="*/ 793 w 193"/>
                  <a:gd name="T31" fmla="*/ 8305 h 246"/>
                  <a:gd name="T32" fmla="*/ 793 w 193"/>
                  <a:gd name="T33" fmla="*/ 8305 h 24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93" h="246">
                    <a:moveTo>
                      <a:pt x="139" y="246"/>
                    </a:moveTo>
                    <a:lnTo>
                      <a:pt x="173" y="237"/>
                    </a:lnTo>
                    <a:lnTo>
                      <a:pt x="193" y="192"/>
                    </a:lnTo>
                    <a:lnTo>
                      <a:pt x="139" y="119"/>
                    </a:lnTo>
                    <a:lnTo>
                      <a:pt x="109" y="97"/>
                    </a:lnTo>
                    <a:lnTo>
                      <a:pt x="97" y="35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23" y="23"/>
                    </a:lnTo>
                    <a:lnTo>
                      <a:pt x="65" y="35"/>
                    </a:lnTo>
                    <a:lnTo>
                      <a:pt x="77" y="53"/>
                    </a:lnTo>
                    <a:lnTo>
                      <a:pt x="65" y="87"/>
                    </a:lnTo>
                    <a:lnTo>
                      <a:pt x="35" y="97"/>
                    </a:lnTo>
                    <a:lnTo>
                      <a:pt x="23" y="119"/>
                    </a:lnTo>
                    <a:lnTo>
                      <a:pt x="43" y="161"/>
                    </a:lnTo>
                    <a:lnTo>
                      <a:pt x="139" y="192"/>
                    </a:lnTo>
                    <a:lnTo>
                      <a:pt x="139" y="246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4" name="Rectangle 69"/>
              <p:cNvSpPr>
                <a:spLocks noChangeArrowheads="1"/>
              </p:cNvSpPr>
              <p:nvPr/>
            </p:nvSpPr>
            <p:spPr bwMode="auto">
              <a:xfrm>
                <a:off x="3587027" y="2238548"/>
                <a:ext cx="12941" cy="17463"/>
              </a:xfrm>
              <a:prstGeom prst="rect">
                <a:avLst/>
              </a:prstGeom>
              <a:solidFill>
                <a:srgbClr val="000066"/>
              </a:solidFill>
              <a:ln w="9525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sz="1333" b="1">
                  <a:solidFill>
                    <a:srgbClr val="99D6EB"/>
                  </a:solidFill>
                  <a:latin typeface="Arial"/>
                  <a:cs typeface="Times New Roman" pitchFamily="18" charset="0"/>
                </a:endParaRPr>
              </a:p>
            </p:txBody>
          </p:sp>
          <p:sp>
            <p:nvSpPr>
              <p:cNvPr id="185" name="Rectangle 70"/>
              <p:cNvSpPr>
                <a:spLocks noChangeArrowheads="1"/>
              </p:cNvSpPr>
              <p:nvPr/>
            </p:nvSpPr>
            <p:spPr bwMode="auto">
              <a:xfrm>
                <a:off x="3587027" y="2238548"/>
                <a:ext cx="12941" cy="17463"/>
              </a:xfrm>
              <a:prstGeom prst="rect">
                <a:avLst/>
              </a:prstGeom>
              <a:solidFill>
                <a:srgbClr val="000066"/>
              </a:solidFill>
              <a:ln w="9525">
                <a:solidFill>
                  <a:schemeClr val="accent2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sz="1333" b="1">
                  <a:solidFill>
                    <a:srgbClr val="99D6EB"/>
                  </a:solidFill>
                  <a:latin typeface="Arial"/>
                  <a:cs typeface="Times New Roman" pitchFamily="18" charset="0"/>
                </a:endParaRPr>
              </a:p>
            </p:txBody>
          </p:sp>
          <p:sp>
            <p:nvSpPr>
              <p:cNvPr id="186" name="Freeform 71"/>
              <p:cNvSpPr>
                <a:spLocks/>
              </p:cNvSpPr>
              <p:nvPr/>
            </p:nvSpPr>
            <p:spPr bwMode="auto">
              <a:xfrm>
                <a:off x="2305894" y="2121073"/>
                <a:ext cx="138035" cy="117475"/>
              </a:xfrm>
              <a:custGeom>
                <a:avLst/>
                <a:gdLst>
                  <a:gd name="T0" fmla="*/ 449 w 192"/>
                  <a:gd name="T1" fmla="*/ 0 h 181"/>
                  <a:gd name="T2" fmla="*/ 0 w 192"/>
                  <a:gd name="T3" fmla="*/ 7828 h 181"/>
                  <a:gd name="T4" fmla="*/ 449 w 192"/>
                  <a:gd name="T5" fmla="*/ 7828 h 181"/>
                  <a:gd name="T6" fmla="*/ 449 w 192"/>
                  <a:gd name="T7" fmla="*/ 7828 h 181"/>
                  <a:gd name="T8" fmla="*/ 449 w 192"/>
                  <a:gd name="T9" fmla="*/ 7828 h 181"/>
                  <a:gd name="T10" fmla="*/ 449 w 192"/>
                  <a:gd name="T11" fmla="*/ 7828 h 181"/>
                  <a:gd name="T12" fmla="*/ 449 w 192"/>
                  <a:gd name="T13" fmla="*/ 7828 h 181"/>
                  <a:gd name="T14" fmla="*/ 449 w 192"/>
                  <a:gd name="T15" fmla="*/ 7828 h 181"/>
                  <a:gd name="T16" fmla="*/ 449 w 192"/>
                  <a:gd name="T17" fmla="*/ 7828 h 181"/>
                  <a:gd name="T18" fmla="*/ 449 w 192"/>
                  <a:gd name="T19" fmla="*/ 7828 h 181"/>
                  <a:gd name="T20" fmla="*/ 449 w 192"/>
                  <a:gd name="T21" fmla="*/ 7828 h 181"/>
                  <a:gd name="T22" fmla="*/ 449 w 192"/>
                  <a:gd name="T23" fmla="*/ 7828 h 181"/>
                  <a:gd name="T24" fmla="*/ 449 w 192"/>
                  <a:gd name="T25" fmla="*/ 0 h 18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92" h="181">
                    <a:moveTo>
                      <a:pt x="63" y="0"/>
                    </a:moveTo>
                    <a:lnTo>
                      <a:pt x="0" y="54"/>
                    </a:lnTo>
                    <a:lnTo>
                      <a:pt x="8" y="86"/>
                    </a:lnTo>
                    <a:lnTo>
                      <a:pt x="31" y="128"/>
                    </a:lnTo>
                    <a:lnTo>
                      <a:pt x="63" y="108"/>
                    </a:lnTo>
                    <a:lnTo>
                      <a:pt x="97" y="108"/>
                    </a:lnTo>
                    <a:lnTo>
                      <a:pt x="127" y="116"/>
                    </a:lnTo>
                    <a:lnTo>
                      <a:pt x="127" y="170"/>
                    </a:lnTo>
                    <a:lnTo>
                      <a:pt x="127" y="181"/>
                    </a:lnTo>
                    <a:lnTo>
                      <a:pt x="181" y="161"/>
                    </a:lnTo>
                    <a:lnTo>
                      <a:pt x="192" y="74"/>
                    </a:lnTo>
                    <a:lnTo>
                      <a:pt x="181" y="32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7" name="Freeform 72"/>
              <p:cNvSpPr>
                <a:spLocks/>
              </p:cNvSpPr>
              <p:nvPr/>
            </p:nvSpPr>
            <p:spPr bwMode="auto">
              <a:xfrm>
                <a:off x="2452556" y="1814685"/>
                <a:ext cx="88428" cy="61913"/>
              </a:xfrm>
              <a:custGeom>
                <a:avLst/>
                <a:gdLst>
                  <a:gd name="T0" fmla="*/ 0 w 116"/>
                  <a:gd name="T1" fmla="*/ 7162 h 96"/>
                  <a:gd name="T2" fmla="*/ 1020 w 116"/>
                  <a:gd name="T3" fmla="*/ 7162 h 96"/>
                  <a:gd name="T4" fmla="*/ 1020 w 116"/>
                  <a:gd name="T5" fmla="*/ 0 h 96"/>
                  <a:gd name="T6" fmla="*/ 1020 w 116"/>
                  <a:gd name="T7" fmla="*/ 7162 h 96"/>
                  <a:gd name="T8" fmla="*/ 1020 w 116"/>
                  <a:gd name="T9" fmla="*/ 7162 h 96"/>
                  <a:gd name="T10" fmla="*/ 0 w 116"/>
                  <a:gd name="T11" fmla="*/ 7162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6" h="96">
                    <a:moveTo>
                      <a:pt x="0" y="96"/>
                    </a:moveTo>
                    <a:lnTo>
                      <a:pt x="84" y="65"/>
                    </a:lnTo>
                    <a:lnTo>
                      <a:pt x="116" y="0"/>
                    </a:lnTo>
                    <a:lnTo>
                      <a:pt x="42" y="22"/>
                    </a:lnTo>
                    <a:lnTo>
                      <a:pt x="30" y="77"/>
                    </a:ln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8" name="Freeform 73"/>
              <p:cNvSpPr>
                <a:spLocks/>
              </p:cNvSpPr>
              <p:nvPr/>
            </p:nvSpPr>
            <p:spPr bwMode="auto">
              <a:xfrm>
                <a:off x="2452556" y="1814685"/>
                <a:ext cx="88428" cy="61913"/>
              </a:xfrm>
              <a:custGeom>
                <a:avLst/>
                <a:gdLst>
                  <a:gd name="T0" fmla="*/ 0 w 116"/>
                  <a:gd name="T1" fmla="*/ 7162 h 96"/>
                  <a:gd name="T2" fmla="*/ 1020 w 116"/>
                  <a:gd name="T3" fmla="*/ 7162 h 96"/>
                  <a:gd name="T4" fmla="*/ 1020 w 116"/>
                  <a:gd name="T5" fmla="*/ 0 h 96"/>
                  <a:gd name="T6" fmla="*/ 1020 w 116"/>
                  <a:gd name="T7" fmla="*/ 7162 h 96"/>
                  <a:gd name="T8" fmla="*/ 1020 w 116"/>
                  <a:gd name="T9" fmla="*/ 7162 h 96"/>
                  <a:gd name="T10" fmla="*/ 0 w 116"/>
                  <a:gd name="T11" fmla="*/ 7162 h 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116" h="96">
                    <a:moveTo>
                      <a:pt x="0" y="96"/>
                    </a:moveTo>
                    <a:lnTo>
                      <a:pt x="84" y="65"/>
                    </a:lnTo>
                    <a:lnTo>
                      <a:pt x="116" y="0"/>
                    </a:lnTo>
                    <a:lnTo>
                      <a:pt x="42" y="22"/>
                    </a:lnTo>
                    <a:lnTo>
                      <a:pt x="30" y="77"/>
                    </a:lnTo>
                    <a:lnTo>
                      <a:pt x="0" y="96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89" name="Freeform 74"/>
              <p:cNvSpPr>
                <a:spLocks noEditPoints="1"/>
              </p:cNvSpPr>
              <p:nvPr/>
            </p:nvSpPr>
            <p:spPr bwMode="auto">
              <a:xfrm>
                <a:off x="3330369" y="2060748"/>
                <a:ext cx="276069" cy="298450"/>
              </a:xfrm>
              <a:custGeom>
                <a:avLst/>
                <a:gdLst>
                  <a:gd name="T0" fmla="*/ 650 w 374"/>
                  <a:gd name="T1" fmla="*/ 7790 h 460"/>
                  <a:gd name="T2" fmla="*/ 650 w 374"/>
                  <a:gd name="T3" fmla="*/ 7790 h 460"/>
                  <a:gd name="T4" fmla="*/ 650 w 374"/>
                  <a:gd name="T5" fmla="*/ 7790 h 460"/>
                  <a:gd name="T6" fmla="*/ 650 w 374"/>
                  <a:gd name="T7" fmla="*/ 7790 h 460"/>
                  <a:gd name="T8" fmla="*/ 650 w 374"/>
                  <a:gd name="T9" fmla="*/ 7790 h 460"/>
                  <a:gd name="T10" fmla="*/ 650 w 374"/>
                  <a:gd name="T11" fmla="*/ 7790 h 460"/>
                  <a:gd name="T12" fmla="*/ 650 w 374"/>
                  <a:gd name="T13" fmla="*/ 7790 h 460"/>
                  <a:gd name="T14" fmla="*/ 650 w 374"/>
                  <a:gd name="T15" fmla="*/ 7790 h 460"/>
                  <a:gd name="T16" fmla="*/ 650 w 374"/>
                  <a:gd name="T17" fmla="*/ 7790 h 460"/>
                  <a:gd name="T18" fmla="*/ 650 w 374"/>
                  <a:gd name="T19" fmla="*/ 0 h 460"/>
                  <a:gd name="T20" fmla="*/ 650 w 374"/>
                  <a:gd name="T21" fmla="*/ 7790 h 460"/>
                  <a:gd name="T22" fmla="*/ 650 w 374"/>
                  <a:gd name="T23" fmla="*/ 7790 h 460"/>
                  <a:gd name="T24" fmla="*/ 650 w 374"/>
                  <a:gd name="T25" fmla="*/ 7790 h 460"/>
                  <a:gd name="T26" fmla="*/ 650 w 374"/>
                  <a:gd name="T27" fmla="*/ 7790 h 460"/>
                  <a:gd name="T28" fmla="*/ 650 w 374"/>
                  <a:gd name="T29" fmla="*/ 7790 h 460"/>
                  <a:gd name="T30" fmla="*/ 0 w 374"/>
                  <a:gd name="T31" fmla="*/ 7790 h 460"/>
                  <a:gd name="T32" fmla="*/ 0 w 374"/>
                  <a:gd name="T33" fmla="*/ 7790 h 460"/>
                  <a:gd name="T34" fmla="*/ 650 w 374"/>
                  <a:gd name="T35" fmla="*/ 7790 h 460"/>
                  <a:gd name="T36" fmla="*/ 650 w 374"/>
                  <a:gd name="T37" fmla="*/ 7790 h 460"/>
                  <a:gd name="T38" fmla="*/ 650 w 374"/>
                  <a:gd name="T39" fmla="*/ 7790 h 460"/>
                  <a:gd name="T40" fmla="*/ 650 w 374"/>
                  <a:gd name="T41" fmla="*/ 7790 h 460"/>
                  <a:gd name="T42" fmla="*/ 650 w 374"/>
                  <a:gd name="T43" fmla="*/ 7790 h 460"/>
                  <a:gd name="T44" fmla="*/ 650 w 374"/>
                  <a:gd name="T45" fmla="*/ 7790 h 460"/>
                  <a:gd name="T46" fmla="*/ 650 w 374"/>
                  <a:gd name="T47" fmla="*/ 7790 h 460"/>
                  <a:gd name="T48" fmla="*/ 650 w 374"/>
                  <a:gd name="T49" fmla="*/ 7790 h 460"/>
                  <a:gd name="T50" fmla="*/ 650 w 374"/>
                  <a:gd name="T51" fmla="*/ 7790 h 460"/>
                  <a:gd name="T52" fmla="*/ 650 w 374"/>
                  <a:gd name="T53" fmla="*/ 7790 h 460"/>
                  <a:gd name="T54" fmla="*/ 650 w 374"/>
                  <a:gd name="T55" fmla="*/ 7790 h 460"/>
                  <a:gd name="T56" fmla="*/ 650 w 374"/>
                  <a:gd name="T57" fmla="*/ 7790 h 460"/>
                  <a:gd name="T58" fmla="*/ 650 w 374"/>
                  <a:gd name="T59" fmla="*/ 7790 h 460"/>
                  <a:gd name="T60" fmla="*/ 650 w 374"/>
                  <a:gd name="T61" fmla="*/ 7790 h 460"/>
                  <a:gd name="T62" fmla="*/ 650 w 374"/>
                  <a:gd name="T63" fmla="*/ 7790 h 460"/>
                  <a:gd name="T64" fmla="*/ 650 w 374"/>
                  <a:gd name="T65" fmla="*/ 7790 h 460"/>
                  <a:gd name="T66" fmla="*/ 650 w 374"/>
                  <a:gd name="T67" fmla="*/ 7790 h 460"/>
                  <a:gd name="T68" fmla="*/ 650 w 374"/>
                  <a:gd name="T69" fmla="*/ 7790 h 460"/>
                  <a:gd name="T70" fmla="*/ 650 w 374"/>
                  <a:gd name="T71" fmla="*/ 7790 h 460"/>
                  <a:gd name="T72" fmla="*/ 650 w 374"/>
                  <a:gd name="T73" fmla="*/ 7790 h 460"/>
                  <a:gd name="T74" fmla="*/ 650 w 374"/>
                  <a:gd name="T75" fmla="*/ 7790 h 460"/>
                  <a:gd name="T76" fmla="*/ 650 w 374"/>
                  <a:gd name="T77" fmla="*/ 7790 h 46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374" h="460">
                    <a:moveTo>
                      <a:pt x="32" y="395"/>
                    </a:moveTo>
                    <a:lnTo>
                      <a:pt x="62" y="395"/>
                    </a:lnTo>
                    <a:lnTo>
                      <a:pt x="109" y="395"/>
                    </a:lnTo>
                    <a:lnTo>
                      <a:pt x="171" y="234"/>
                    </a:lnTo>
                    <a:lnTo>
                      <a:pt x="235" y="211"/>
                    </a:lnTo>
                    <a:lnTo>
                      <a:pt x="235" y="161"/>
                    </a:lnTo>
                    <a:lnTo>
                      <a:pt x="181" y="161"/>
                    </a:lnTo>
                    <a:lnTo>
                      <a:pt x="193" y="107"/>
                    </a:lnTo>
                    <a:lnTo>
                      <a:pt x="213" y="52"/>
                    </a:lnTo>
                    <a:lnTo>
                      <a:pt x="213" y="0"/>
                    </a:lnTo>
                    <a:lnTo>
                      <a:pt x="161" y="8"/>
                    </a:lnTo>
                    <a:lnTo>
                      <a:pt x="128" y="52"/>
                    </a:lnTo>
                    <a:lnTo>
                      <a:pt x="62" y="62"/>
                    </a:lnTo>
                    <a:lnTo>
                      <a:pt x="20" y="95"/>
                    </a:lnTo>
                    <a:lnTo>
                      <a:pt x="12" y="149"/>
                    </a:lnTo>
                    <a:lnTo>
                      <a:pt x="0" y="223"/>
                    </a:lnTo>
                    <a:lnTo>
                      <a:pt x="0" y="288"/>
                    </a:lnTo>
                    <a:lnTo>
                      <a:pt x="43" y="330"/>
                    </a:lnTo>
                    <a:lnTo>
                      <a:pt x="32" y="395"/>
                    </a:lnTo>
                    <a:close/>
                    <a:moveTo>
                      <a:pt x="151" y="318"/>
                    </a:moveTo>
                    <a:lnTo>
                      <a:pt x="161" y="383"/>
                    </a:lnTo>
                    <a:lnTo>
                      <a:pt x="213" y="383"/>
                    </a:lnTo>
                    <a:lnTo>
                      <a:pt x="213" y="330"/>
                    </a:lnTo>
                    <a:lnTo>
                      <a:pt x="193" y="310"/>
                    </a:lnTo>
                    <a:lnTo>
                      <a:pt x="151" y="318"/>
                    </a:lnTo>
                    <a:close/>
                    <a:moveTo>
                      <a:pt x="246" y="288"/>
                    </a:moveTo>
                    <a:lnTo>
                      <a:pt x="258" y="360"/>
                    </a:lnTo>
                    <a:lnTo>
                      <a:pt x="312" y="372"/>
                    </a:lnTo>
                    <a:lnTo>
                      <a:pt x="362" y="353"/>
                    </a:lnTo>
                    <a:lnTo>
                      <a:pt x="342" y="330"/>
                    </a:lnTo>
                    <a:lnTo>
                      <a:pt x="374" y="288"/>
                    </a:lnTo>
                    <a:lnTo>
                      <a:pt x="362" y="234"/>
                    </a:lnTo>
                    <a:lnTo>
                      <a:pt x="246" y="288"/>
                    </a:lnTo>
                    <a:close/>
                    <a:moveTo>
                      <a:pt x="235" y="415"/>
                    </a:moveTo>
                    <a:lnTo>
                      <a:pt x="258" y="460"/>
                    </a:lnTo>
                    <a:lnTo>
                      <a:pt x="300" y="449"/>
                    </a:lnTo>
                    <a:lnTo>
                      <a:pt x="332" y="427"/>
                    </a:lnTo>
                    <a:lnTo>
                      <a:pt x="290" y="407"/>
                    </a:lnTo>
                    <a:lnTo>
                      <a:pt x="235" y="415"/>
                    </a:ln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0" name="Freeform 75"/>
              <p:cNvSpPr>
                <a:spLocks/>
              </p:cNvSpPr>
              <p:nvPr/>
            </p:nvSpPr>
            <p:spPr bwMode="auto">
              <a:xfrm>
                <a:off x="3440365" y="2263948"/>
                <a:ext cx="45293" cy="47625"/>
              </a:xfrm>
              <a:custGeom>
                <a:avLst/>
                <a:gdLst>
                  <a:gd name="T0" fmla="*/ 0 w 62"/>
                  <a:gd name="T1" fmla="*/ 8416 h 73"/>
                  <a:gd name="T2" fmla="*/ 562 w 62"/>
                  <a:gd name="T3" fmla="*/ 8416 h 73"/>
                  <a:gd name="T4" fmla="*/ 562 w 62"/>
                  <a:gd name="T5" fmla="*/ 8416 h 73"/>
                  <a:gd name="T6" fmla="*/ 562 w 62"/>
                  <a:gd name="T7" fmla="*/ 8416 h 73"/>
                  <a:gd name="T8" fmla="*/ 562 w 62"/>
                  <a:gd name="T9" fmla="*/ 0 h 73"/>
                  <a:gd name="T10" fmla="*/ 0 w 62"/>
                  <a:gd name="T11" fmla="*/ 8416 h 7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62" h="73">
                    <a:moveTo>
                      <a:pt x="0" y="8"/>
                    </a:moveTo>
                    <a:lnTo>
                      <a:pt x="10" y="73"/>
                    </a:lnTo>
                    <a:lnTo>
                      <a:pt x="62" y="73"/>
                    </a:lnTo>
                    <a:lnTo>
                      <a:pt x="62" y="20"/>
                    </a:lnTo>
                    <a:lnTo>
                      <a:pt x="42" y="0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1" name="Freeform 76"/>
              <p:cNvSpPr>
                <a:spLocks/>
              </p:cNvSpPr>
              <p:nvPr/>
            </p:nvSpPr>
            <p:spPr bwMode="auto">
              <a:xfrm>
                <a:off x="3505069" y="2325860"/>
                <a:ext cx="71174" cy="33338"/>
              </a:xfrm>
              <a:custGeom>
                <a:avLst/>
                <a:gdLst>
                  <a:gd name="T0" fmla="*/ 0 w 97"/>
                  <a:gd name="T1" fmla="*/ 5048 h 53"/>
                  <a:gd name="T2" fmla="*/ 597 w 97"/>
                  <a:gd name="T3" fmla="*/ 5048 h 53"/>
                  <a:gd name="T4" fmla="*/ 597 w 97"/>
                  <a:gd name="T5" fmla="*/ 5048 h 53"/>
                  <a:gd name="T6" fmla="*/ 597 w 97"/>
                  <a:gd name="T7" fmla="*/ 5048 h 53"/>
                  <a:gd name="T8" fmla="*/ 597 w 97"/>
                  <a:gd name="T9" fmla="*/ 0 h 53"/>
                  <a:gd name="T10" fmla="*/ 0 w 97"/>
                  <a:gd name="T11" fmla="*/ 5048 h 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97" h="53">
                    <a:moveTo>
                      <a:pt x="0" y="8"/>
                    </a:moveTo>
                    <a:lnTo>
                      <a:pt x="23" y="53"/>
                    </a:lnTo>
                    <a:lnTo>
                      <a:pt x="65" y="42"/>
                    </a:lnTo>
                    <a:lnTo>
                      <a:pt x="97" y="20"/>
                    </a:lnTo>
                    <a:lnTo>
                      <a:pt x="55" y="0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DDDDDD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chemeClr val="accent2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2" name="Oval 77"/>
              <p:cNvSpPr>
                <a:spLocks noChangeArrowheads="1"/>
              </p:cNvSpPr>
              <p:nvPr/>
            </p:nvSpPr>
            <p:spPr bwMode="auto">
              <a:xfrm>
                <a:off x="2605688" y="2463972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3" name="Oval 78"/>
              <p:cNvSpPr>
                <a:spLocks noChangeArrowheads="1"/>
              </p:cNvSpPr>
              <p:nvPr/>
            </p:nvSpPr>
            <p:spPr bwMode="auto">
              <a:xfrm>
                <a:off x="2797642" y="2892597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4" name="Oval 79"/>
              <p:cNvSpPr>
                <a:spLocks noChangeArrowheads="1"/>
              </p:cNvSpPr>
              <p:nvPr/>
            </p:nvSpPr>
            <p:spPr bwMode="auto">
              <a:xfrm>
                <a:off x="3843684" y="1808334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5" name="Oval 80"/>
              <p:cNvSpPr>
                <a:spLocks noChangeArrowheads="1"/>
              </p:cNvSpPr>
              <p:nvPr/>
            </p:nvSpPr>
            <p:spPr bwMode="auto">
              <a:xfrm>
                <a:off x="3060770" y="2541759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6" name="Oval 81"/>
              <p:cNvSpPr>
                <a:spLocks noChangeArrowheads="1"/>
              </p:cNvSpPr>
              <p:nvPr/>
            </p:nvSpPr>
            <p:spPr bwMode="auto">
              <a:xfrm>
                <a:off x="3282438" y="2998959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7" name="Oval 82"/>
              <p:cNvSpPr>
                <a:spLocks noChangeArrowheads="1"/>
              </p:cNvSpPr>
              <p:nvPr/>
            </p:nvSpPr>
            <p:spPr bwMode="auto">
              <a:xfrm>
                <a:off x="2398636" y="3579984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8" name="Oval 83"/>
              <p:cNvSpPr>
                <a:spLocks noChangeArrowheads="1"/>
              </p:cNvSpPr>
              <p:nvPr/>
            </p:nvSpPr>
            <p:spPr bwMode="auto">
              <a:xfrm>
                <a:off x="3479187" y="2235372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99" name="Oval 84"/>
              <p:cNvSpPr>
                <a:spLocks noChangeArrowheads="1"/>
              </p:cNvSpPr>
              <p:nvPr/>
            </p:nvSpPr>
            <p:spPr bwMode="auto">
              <a:xfrm>
                <a:off x="4044266" y="2713209"/>
                <a:ext cx="108000" cy="1080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4" name="Oval 94"/>
              <p:cNvSpPr>
                <a:spLocks noChangeArrowheads="1"/>
              </p:cNvSpPr>
              <p:nvPr/>
            </p:nvSpPr>
            <p:spPr bwMode="auto">
              <a:xfrm>
                <a:off x="3185108" y="1868774"/>
                <a:ext cx="108000" cy="108000"/>
              </a:xfrm>
              <a:prstGeom prst="ellipse">
                <a:avLst/>
              </a:prstGeom>
              <a:solidFill>
                <a:srgbClr val="6600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5" name="Oval 95"/>
              <p:cNvSpPr>
                <a:spLocks noChangeArrowheads="1"/>
              </p:cNvSpPr>
              <p:nvPr/>
            </p:nvSpPr>
            <p:spPr bwMode="auto">
              <a:xfrm>
                <a:off x="3374314" y="1832901"/>
                <a:ext cx="108000" cy="108000"/>
              </a:xfrm>
              <a:prstGeom prst="ellipse">
                <a:avLst/>
              </a:prstGeom>
              <a:solidFill>
                <a:srgbClr val="6600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6" name="Oval 96"/>
              <p:cNvSpPr>
                <a:spLocks noChangeArrowheads="1"/>
              </p:cNvSpPr>
              <p:nvPr/>
            </p:nvSpPr>
            <p:spPr bwMode="auto">
              <a:xfrm>
                <a:off x="3403131" y="2423850"/>
                <a:ext cx="108000" cy="108000"/>
              </a:xfrm>
              <a:prstGeom prst="ellipse">
                <a:avLst/>
              </a:prstGeom>
              <a:solidFill>
                <a:srgbClr val="6600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7" name="Oval 98"/>
              <p:cNvSpPr>
                <a:spLocks noChangeArrowheads="1"/>
              </p:cNvSpPr>
              <p:nvPr/>
            </p:nvSpPr>
            <p:spPr bwMode="auto">
              <a:xfrm>
                <a:off x="2102205" y="3342959"/>
                <a:ext cx="88290" cy="79726"/>
              </a:xfrm>
              <a:prstGeom prst="ellipse">
                <a:avLst/>
              </a:prstGeom>
              <a:solidFill>
                <a:srgbClr val="6600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9" name="Oval 101"/>
              <p:cNvSpPr>
                <a:spLocks noChangeArrowheads="1"/>
              </p:cNvSpPr>
              <p:nvPr/>
            </p:nvSpPr>
            <p:spPr bwMode="auto">
              <a:xfrm>
                <a:off x="1988846" y="3316460"/>
                <a:ext cx="222149" cy="123825"/>
              </a:xfrm>
              <a:prstGeom prst="ellipse">
                <a:avLst/>
              </a:prstGeom>
              <a:solidFill>
                <a:srgbClr val="E0E0E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6350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208" name="Oval 99"/>
              <p:cNvSpPr>
                <a:spLocks noChangeArrowheads="1"/>
              </p:cNvSpPr>
              <p:nvPr/>
            </p:nvSpPr>
            <p:spPr bwMode="auto">
              <a:xfrm>
                <a:off x="3244569" y="2672055"/>
                <a:ext cx="108000" cy="108000"/>
              </a:xfrm>
              <a:prstGeom prst="ellipse">
                <a:avLst/>
              </a:prstGeom>
              <a:solidFill>
                <a:srgbClr val="660099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119969" anchor="ctr"/>
              <a:lstStyle/>
              <a:p>
                <a:pPr algn="ctr"/>
                <a:endParaRPr lang="en-GB" sz="160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122" name="Oval 7"/>
            <p:cNvSpPr>
              <a:spLocks noChangeAspect="1" noChangeArrowheads="1"/>
            </p:cNvSpPr>
            <p:nvPr/>
          </p:nvSpPr>
          <p:spPr bwMode="auto">
            <a:xfrm>
              <a:off x="3639799" y="3699600"/>
              <a:ext cx="107972" cy="10797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hlink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19969" anchor="ctr"/>
            <a:lstStyle/>
            <a:p>
              <a:pPr algn="ctr"/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4" name="Oval 7"/>
            <p:cNvSpPr>
              <a:spLocks noChangeAspect="1" noChangeArrowheads="1"/>
            </p:cNvSpPr>
            <p:nvPr/>
          </p:nvSpPr>
          <p:spPr bwMode="auto">
            <a:xfrm>
              <a:off x="3560940" y="3068181"/>
              <a:ext cx="107972" cy="107972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/>
          </p:spPr>
          <p:txBody>
            <a:bodyPr wrap="none" lIns="119969" anchor="ctr"/>
            <a:lstStyle/>
            <a:p>
              <a:pPr algn="ctr"/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7" name="Oval 94"/>
            <p:cNvSpPr>
              <a:spLocks noChangeAspect="1" noChangeArrowheads="1"/>
            </p:cNvSpPr>
            <p:nvPr/>
          </p:nvSpPr>
          <p:spPr bwMode="auto">
            <a:xfrm>
              <a:off x="3561272" y="3366330"/>
              <a:ext cx="107972" cy="10797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</p:spPr>
          <p:txBody>
            <a:bodyPr wrap="none" lIns="119969" anchor="ctr"/>
            <a:lstStyle/>
            <a:p>
              <a:pPr algn="ctr"/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1" name="Oval 94"/>
            <p:cNvSpPr>
              <a:spLocks noChangeAspect="1" noChangeArrowheads="1"/>
            </p:cNvSpPr>
            <p:nvPr/>
          </p:nvSpPr>
          <p:spPr bwMode="auto">
            <a:xfrm>
              <a:off x="3524066" y="3234900"/>
              <a:ext cx="107972" cy="107972"/>
            </a:xfrm>
            <a:prstGeom prst="ellipse">
              <a:avLst/>
            </a:prstGeom>
            <a:solidFill>
              <a:srgbClr val="6600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19969" anchor="ctr"/>
            <a:lstStyle/>
            <a:p>
              <a:pPr algn="ctr"/>
              <a:endParaRPr lang="en-GB" sz="16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1" algn="l" defTabSz="914309" rtl="0">
              <a:lnSpc>
                <a:spcPts val="3100"/>
              </a:lnSpc>
              <a:spcBef>
                <a:spcPct val="0"/>
              </a:spcBef>
            </a:pPr>
            <a:r>
              <a:rPr lang="en-GB" sz="2800" dirty="0">
                <a:solidFill>
                  <a:schemeClr val="tx1"/>
                </a:solidFill>
              </a:rPr>
              <a:t>Hydro Rolling – an overview* 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sz="1800" dirty="0"/>
              <a:t>Strong production base in Europe. Active in all key markets around the world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98915" y="6381365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332" rtl="0" eaLnBrk="1" latinLnBrk="0" hangingPunct="1">
              <a:defRPr sz="10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67" algn="l" defTabSz="914332" rtl="0" eaLnBrk="1" latinLnBrk="0" hangingPunct="1"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32" algn="l" defTabSz="914332" rtl="0" eaLnBrk="1" latinLnBrk="0" hangingPunct="1"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98" algn="l" defTabSz="914332" rtl="0" eaLnBrk="1" latinLnBrk="0" hangingPunct="1"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64" algn="l" defTabSz="914332" rtl="0" eaLnBrk="1" latinLnBrk="0" hangingPunct="1"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30" algn="l" defTabSz="914332" rtl="0" eaLnBrk="1" latinLnBrk="0" hangingPunct="1"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94" algn="l" defTabSz="914332" rtl="0" eaLnBrk="1" latinLnBrk="0" hangingPunct="1"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60" algn="l" defTabSz="914332" rtl="0" eaLnBrk="1" latinLnBrk="0" hangingPunct="1"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327" algn="l" defTabSz="914332" rtl="0" eaLnBrk="1" latinLnBrk="0" hangingPunct="1"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2</a:t>
            </a:fld>
            <a:endParaRPr lang="en-GB">
              <a:solidFill>
                <a:srgbClr val="999999"/>
              </a:solidFill>
            </a:endParaRPr>
          </a:p>
        </p:txBody>
      </p:sp>
      <p:sp>
        <p:nvSpPr>
          <p:cNvPr id="98" name="Ellipse 97"/>
          <p:cNvSpPr/>
          <p:nvPr/>
        </p:nvSpPr>
        <p:spPr bwMode="auto">
          <a:xfrm>
            <a:off x="5803636" y="3556133"/>
            <a:ext cx="336000" cy="592948"/>
          </a:xfrm>
          <a:prstGeom prst="ellipse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/>
            <a:endParaRPr lang="en-GB" sz="2133">
              <a:latin typeface="Helvetica"/>
              <a:ea typeface="ＭＳ Ｐゴシック" charset="0"/>
              <a:cs typeface="Helvetica"/>
            </a:endParaRPr>
          </a:p>
        </p:txBody>
      </p:sp>
      <p:cxnSp>
        <p:nvCxnSpPr>
          <p:cNvPr id="100" name="Gerade Verbindung 99"/>
          <p:cNvCxnSpPr>
            <a:stCxn id="206" idx="1"/>
          </p:cNvCxnSpPr>
          <p:nvPr/>
        </p:nvCxnSpPr>
        <p:spPr>
          <a:xfrm flipH="1" flipV="1">
            <a:off x="2211805" y="2255651"/>
            <a:ext cx="3892396" cy="1212572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</p:cxnSp>
      <p:cxnSp>
        <p:nvCxnSpPr>
          <p:cNvPr id="101" name="Gerade Verbindung 100"/>
          <p:cNvCxnSpPr>
            <a:stCxn id="204" idx="0"/>
          </p:cNvCxnSpPr>
          <p:nvPr/>
        </p:nvCxnSpPr>
        <p:spPr>
          <a:xfrm flipV="1">
            <a:off x="5903201" y="2109341"/>
            <a:ext cx="2363" cy="720819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</p:cxnSp>
      <p:cxnSp>
        <p:nvCxnSpPr>
          <p:cNvPr id="102" name="Gerade Verbindung 101"/>
          <p:cNvCxnSpPr/>
          <p:nvPr/>
        </p:nvCxnSpPr>
        <p:spPr>
          <a:xfrm>
            <a:off x="5993754" y="3899566"/>
            <a:ext cx="2814273" cy="667335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</p:cxnSp>
      <p:cxnSp>
        <p:nvCxnSpPr>
          <p:cNvPr id="103" name="Gerade Verbindung 102"/>
          <p:cNvCxnSpPr/>
          <p:nvPr/>
        </p:nvCxnSpPr>
        <p:spPr>
          <a:xfrm flipV="1">
            <a:off x="6161829" y="1857197"/>
            <a:ext cx="1645268" cy="958271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</p:cxnSp>
      <p:cxnSp>
        <p:nvCxnSpPr>
          <p:cNvPr id="104" name="Gerade Verbindung 103"/>
          <p:cNvCxnSpPr/>
          <p:nvPr/>
        </p:nvCxnSpPr>
        <p:spPr>
          <a:xfrm flipH="1" flipV="1">
            <a:off x="2573881" y="3712607"/>
            <a:ext cx="3335748" cy="71467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</p:cxnSp>
      <p:cxnSp>
        <p:nvCxnSpPr>
          <p:cNvPr id="109" name="Gerade Verbindung 108"/>
          <p:cNvCxnSpPr/>
          <p:nvPr/>
        </p:nvCxnSpPr>
        <p:spPr>
          <a:xfrm flipV="1">
            <a:off x="6033150" y="2907212"/>
            <a:ext cx="2753711" cy="769907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</p:cxnSp>
      <p:cxnSp>
        <p:nvCxnSpPr>
          <p:cNvPr id="111" name="Gerade Verbindung 110"/>
          <p:cNvCxnSpPr/>
          <p:nvPr/>
        </p:nvCxnSpPr>
        <p:spPr>
          <a:xfrm flipH="1">
            <a:off x="2966147" y="4051237"/>
            <a:ext cx="2960711" cy="659051"/>
          </a:xfrm>
          <a:prstGeom prst="line">
            <a:avLst/>
          </a:prstGeom>
          <a:noFill/>
          <a:ln w="9525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</p:cxnSp>
      <p:sp>
        <p:nvSpPr>
          <p:cNvPr id="236" name="Text Box 5"/>
          <p:cNvSpPr txBox="1">
            <a:spLocks noChangeArrowheads="1"/>
          </p:cNvSpPr>
          <p:nvPr/>
        </p:nvSpPr>
        <p:spPr bwMode="auto">
          <a:xfrm>
            <a:off x="4023017" y="5616620"/>
            <a:ext cx="2783088" cy="21435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119969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buClr>
                <a:srgbClr val="B5B1AA"/>
              </a:buClr>
              <a:buSzPct val="75000"/>
              <a:buFont typeface="Wingdings" pitchFamily="2" charset="2"/>
              <a:buNone/>
            </a:pPr>
            <a:r>
              <a:rPr lang="en-GB" sz="933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Rolled Products Aluminium Cluster in Rhineland</a:t>
            </a:r>
          </a:p>
        </p:txBody>
      </p:sp>
      <p:sp>
        <p:nvSpPr>
          <p:cNvPr id="237" name="Ellipse 236"/>
          <p:cNvSpPr/>
          <p:nvPr/>
        </p:nvSpPr>
        <p:spPr bwMode="auto">
          <a:xfrm>
            <a:off x="3943375" y="5543793"/>
            <a:ext cx="142383" cy="265860"/>
          </a:xfrm>
          <a:prstGeom prst="ellipse">
            <a:avLst/>
          </a:prstGeom>
          <a:noFill/>
          <a:ln w="1905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/>
            <a:endParaRPr lang="en-GB" sz="2133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238" name="Text Box 4"/>
          <p:cNvSpPr txBox="1">
            <a:spLocks noChangeArrowheads="1"/>
          </p:cNvSpPr>
          <p:nvPr/>
        </p:nvSpPr>
        <p:spPr bwMode="auto">
          <a:xfrm>
            <a:off x="794975" y="5402369"/>
            <a:ext cx="576783" cy="24873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none" lIns="119967" tIns="60959" rIns="121917" bIns="60959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buClr>
                <a:srgbClr val="B5B1AA"/>
              </a:buClr>
              <a:buSzPct val="75000"/>
              <a:buFont typeface="Wingdings" pitchFamily="2" charset="2"/>
              <a:buNone/>
            </a:pPr>
            <a:r>
              <a:rPr lang="en-GB" sz="933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Plants</a:t>
            </a:r>
          </a:p>
        </p:txBody>
      </p:sp>
      <p:sp>
        <p:nvSpPr>
          <p:cNvPr id="239" name="Text Box 5"/>
          <p:cNvSpPr txBox="1">
            <a:spLocks noChangeArrowheads="1"/>
          </p:cNvSpPr>
          <p:nvPr/>
        </p:nvSpPr>
        <p:spPr bwMode="auto">
          <a:xfrm>
            <a:off x="783245" y="5603199"/>
            <a:ext cx="1585676" cy="24873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119967" tIns="60959" rIns="121917" bIns="60959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buClr>
                <a:srgbClr val="B5B1AA"/>
              </a:buClr>
              <a:buSzPct val="75000"/>
              <a:buFont typeface="Wingdings" pitchFamily="2" charset="2"/>
              <a:buNone/>
            </a:pPr>
            <a:r>
              <a:rPr lang="en-GB" sz="933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Joint venture </a:t>
            </a:r>
            <a:r>
              <a:rPr lang="en-GB" sz="933" dirty="0" err="1">
                <a:solidFill>
                  <a:srgbClr val="000000"/>
                </a:solidFill>
                <a:latin typeface="Arial"/>
                <a:cs typeface="Times New Roman" pitchFamily="18" charset="0"/>
              </a:rPr>
              <a:t>AluNorf</a:t>
            </a:r>
            <a:endParaRPr lang="en-GB" sz="933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240" name="Text Box 5"/>
          <p:cNvSpPr txBox="1">
            <a:spLocks noChangeArrowheads="1"/>
          </p:cNvSpPr>
          <p:nvPr/>
        </p:nvSpPr>
        <p:spPr bwMode="auto">
          <a:xfrm>
            <a:off x="2279785" y="5402369"/>
            <a:ext cx="1115915" cy="24873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wrap="square" lIns="119967" tIns="60959" rIns="121917" bIns="60959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>
              <a:lnSpc>
                <a:spcPct val="85000"/>
              </a:lnSpc>
              <a:spcBef>
                <a:spcPct val="50000"/>
              </a:spcBef>
              <a:buClr>
                <a:srgbClr val="B5B1AA"/>
              </a:buClr>
              <a:buSzPct val="75000"/>
              <a:buFont typeface="Wingdings" pitchFamily="2" charset="2"/>
              <a:buNone/>
            </a:pPr>
            <a:r>
              <a:rPr lang="en-GB" sz="933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R&amp;D Centre</a:t>
            </a:r>
          </a:p>
        </p:txBody>
      </p:sp>
      <p:sp>
        <p:nvSpPr>
          <p:cNvPr id="213" name="Rectangle 487"/>
          <p:cNvSpPr>
            <a:spLocks noChangeArrowheads="1"/>
          </p:cNvSpPr>
          <p:nvPr/>
        </p:nvSpPr>
        <p:spPr bwMode="auto">
          <a:xfrm>
            <a:off x="8808026" y="4395287"/>
            <a:ext cx="2214255" cy="515859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ffectLst>
            <a:outerShdw blurRad="101600" dist="38100" dir="3360000" sx="97000" sy="97000" algn="l" rotWithShape="0">
              <a:prstClr val="black">
                <a:alpha val="32000"/>
              </a:prstClr>
            </a:outerShdw>
          </a:effectLst>
        </p:spPr>
        <p:txBody>
          <a:bodyPr wrap="square" lIns="72555" tIns="72555" rIns="72555" bIns="72555">
            <a:spAutoFit/>
          </a:bodyPr>
          <a:lstStyle/>
          <a:p>
            <a:pPr defTabSz="1219170"/>
            <a:r>
              <a:rPr lang="en-GB" sz="1200" b="1" dirty="0">
                <a:solidFill>
                  <a:prstClr val="black"/>
                </a:solidFill>
                <a:cs typeface="Arial" panose="020B0604020202020204" pitchFamily="34" charset="0"/>
              </a:rPr>
              <a:t>Grevenbroich, Germany</a:t>
            </a:r>
          </a:p>
          <a:p>
            <a:pPr defTabSz="1219170"/>
            <a:r>
              <a:rPr lang="en-GB" sz="1200" dirty="0">
                <a:solidFill>
                  <a:prstClr val="black"/>
                </a:solidFill>
                <a:cs typeface="Arial" panose="020B0604020202020204" pitchFamily="34" charset="0"/>
              </a:rPr>
              <a:t>Workforce: </a:t>
            </a:r>
            <a:r>
              <a:rPr lang="en-GB" sz="1200" dirty="0">
                <a:cs typeface="Arial" panose="020B0604020202020204" pitchFamily="34" charset="0"/>
              </a:rPr>
              <a:t>2,000</a:t>
            </a:r>
          </a:p>
        </p:txBody>
      </p:sp>
      <p:sp>
        <p:nvSpPr>
          <p:cNvPr id="215" name="Rectangle 487"/>
          <p:cNvSpPr>
            <a:spLocks noChangeArrowheads="1"/>
          </p:cNvSpPr>
          <p:nvPr/>
        </p:nvSpPr>
        <p:spPr bwMode="auto">
          <a:xfrm>
            <a:off x="8786860" y="2721295"/>
            <a:ext cx="2235421" cy="515859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ffectLst>
            <a:outerShdw blurRad="101600" dist="38100" dir="3360000" sx="97000" sy="97000" algn="l" rotWithShape="0">
              <a:prstClr val="black">
                <a:alpha val="32000"/>
              </a:prstClr>
            </a:outerShdw>
          </a:effectLst>
        </p:spPr>
        <p:txBody>
          <a:bodyPr wrap="square" lIns="72555" tIns="72555" rIns="72555" bIns="72555">
            <a:spAutoFit/>
          </a:bodyPr>
          <a:lstStyle/>
          <a:p>
            <a:pPr defTabSz="1219170"/>
            <a:r>
              <a:rPr lang="en-GB" sz="1200" b="1" dirty="0" err="1">
                <a:solidFill>
                  <a:prstClr val="black"/>
                </a:solidFill>
                <a:cs typeface="Arial" panose="020B0604020202020204" pitchFamily="34" charset="0"/>
              </a:rPr>
              <a:t>AluNorf</a:t>
            </a:r>
            <a:r>
              <a:rPr lang="en-GB" sz="1200" b="1" dirty="0">
                <a:solidFill>
                  <a:prstClr val="black"/>
                </a:solidFill>
                <a:cs typeface="Arial" panose="020B0604020202020204" pitchFamily="34" charset="0"/>
              </a:rPr>
              <a:t> Neuss, Germany</a:t>
            </a:r>
          </a:p>
          <a:p>
            <a:pPr defTabSz="1219170"/>
            <a:r>
              <a:rPr lang="en-GB" sz="1200" dirty="0">
                <a:solidFill>
                  <a:prstClr val="black"/>
                </a:solidFill>
                <a:cs typeface="Arial" panose="020B0604020202020204" pitchFamily="34" charset="0"/>
              </a:rPr>
              <a:t>Workforce: </a:t>
            </a:r>
            <a:r>
              <a:rPr lang="en-GB" sz="1200" dirty="0">
                <a:cs typeface="Arial" panose="020B0604020202020204" pitchFamily="34" charset="0"/>
              </a:rPr>
              <a:t>2,300**</a:t>
            </a:r>
          </a:p>
        </p:txBody>
      </p:sp>
      <p:sp>
        <p:nvSpPr>
          <p:cNvPr id="216" name="Rectangle 487"/>
          <p:cNvSpPr>
            <a:spLocks noChangeArrowheads="1"/>
          </p:cNvSpPr>
          <p:nvPr/>
        </p:nvSpPr>
        <p:spPr bwMode="auto">
          <a:xfrm>
            <a:off x="7806608" y="1669973"/>
            <a:ext cx="2235421" cy="515859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ffectLst>
            <a:outerShdw blurRad="101600" dist="38100" dir="3360000" sx="97000" sy="97000" algn="l" rotWithShape="0">
              <a:prstClr val="black">
                <a:alpha val="32000"/>
              </a:prstClr>
            </a:outerShdw>
          </a:effectLst>
        </p:spPr>
        <p:txBody>
          <a:bodyPr wrap="square" lIns="72555" tIns="72555" rIns="72555" bIns="72555">
            <a:spAutoFit/>
          </a:bodyPr>
          <a:lstStyle/>
          <a:p>
            <a:pPr defTabSz="1219170"/>
            <a:r>
              <a:rPr lang="en-GB" sz="1200" b="1" dirty="0" err="1">
                <a:solidFill>
                  <a:prstClr val="black"/>
                </a:solidFill>
                <a:cs typeface="Arial" panose="020B0604020202020204" pitchFamily="34" charset="0"/>
              </a:rPr>
              <a:t>Holmestrand</a:t>
            </a:r>
            <a:r>
              <a:rPr lang="en-GB" sz="1200" b="1" dirty="0">
                <a:solidFill>
                  <a:prstClr val="black"/>
                </a:solidFill>
                <a:cs typeface="Arial" panose="020B0604020202020204" pitchFamily="34" charset="0"/>
              </a:rPr>
              <a:t>, Norway</a:t>
            </a:r>
          </a:p>
          <a:p>
            <a:pPr defTabSz="1219170"/>
            <a:r>
              <a:rPr lang="en-GB" sz="1200" dirty="0">
                <a:solidFill>
                  <a:prstClr val="black"/>
                </a:solidFill>
                <a:cs typeface="Arial" panose="020B0604020202020204" pitchFamily="34" charset="0"/>
              </a:rPr>
              <a:t>Workforce: </a:t>
            </a:r>
            <a:r>
              <a:rPr lang="en-GB" sz="1200" dirty="0">
                <a:cs typeface="Arial" panose="020B0604020202020204" pitchFamily="34" charset="0"/>
              </a:rPr>
              <a:t>430</a:t>
            </a:r>
          </a:p>
        </p:txBody>
      </p:sp>
      <p:sp>
        <p:nvSpPr>
          <p:cNvPr id="217" name="Rectangle 487"/>
          <p:cNvSpPr>
            <a:spLocks noChangeArrowheads="1"/>
          </p:cNvSpPr>
          <p:nvPr/>
        </p:nvSpPr>
        <p:spPr bwMode="auto">
          <a:xfrm>
            <a:off x="4777242" y="1468337"/>
            <a:ext cx="2255999" cy="515859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ffectLst>
            <a:outerShdw blurRad="101600" dist="38100" dir="3360000" sx="97000" sy="97000" algn="l" rotWithShape="0">
              <a:prstClr val="black">
                <a:alpha val="32000"/>
              </a:prstClr>
            </a:outerShdw>
          </a:effectLst>
        </p:spPr>
        <p:txBody>
          <a:bodyPr wrap="square" lIns="72555" tIns="72555" rIns="72555" bIns="72555">
            <a:spAutoFit/>
          </a:bodyPr>
          <a:lstStyle/>
          <a:p>
            <a:pPr defTabSz="1219170"/>
            <a:r>
              <a:rPr lang="en-GB" sz="1200" b="1" dirty="0" err="1">
                <a:solidFill>
                  <a:prstClr val="black"/>
                </a:solidFill>
                <a:cs typeface="Arial" panose="020B0604020202020204" pitchFamily="34" charset="0"/>
              </a:rPr>
              <a:t>Karmøy</a:t>
            </a:r>
            <a:r>
              <a:rPr lang="en-GB" sz="1200" b="1" dirty="0">
                <a:solidFill>
                  <a:prstClr val="black"/>
                </a:solidFill>
                <a:cs typeface="Arial" panose="020B0604020202020204" pitchFamily="34" charset="0"/>
              </a:rPr>
              <a:t>, Norway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defTabSz="1219170"/>
            <a:r>
              <a:rPr lang="en-GB" sz="1200" dirty="0">
                <a:solidFill>
                  <a:prstClr val="black"/>
                </a:solidFill>
                <a:cs typeface="Arial" panose="020B0604020202020204" pitchFamily="34" charset="0"/>
              </a:rPr>
              <a:t>Workforce: </a:t>
            </a:r>
            <a:r>
              <a:rPr lang="en-GB" sz="1200" dirty="0">
                <a:cs typeface="Arial" panose="020B0604020202020204" pitchFamily="34" charset="0"/>
              </a:rPr>
              <a:t>240</a:t>
            </a:r>
          </a:p>
        </p:txBody>
      </p:sp>
      <p:sp>
        <p:nvSpPr>
          <p:cNvPr id="218" name="Rectangle 487"/>
          <p:cNvSpPr>
            <a:spLocks noChangeArrowheads="1"/>
          </p:cNvSpPr>
          <p:nvPr/>
        </p:nvSpPr>
        <p:spPr bwMode="auto">
          <a:xfrm>
            <a:off x="734120" y="2188698"/>
            <a:ext cx="2235421" cy="515859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ffectLst>
            <a:outerShdw blurRad="101600" dist="38100" dir="3360000" sx="97000" sy="97000" algn="l" rotWithShape="0">
              <a:prstClr val="black">
                <a:alpha val="32000"/>
              </a:prstClr>
            </a:outerShdw>
          </a:effectLst>
        </p:spPr>
        <p:txBody>
          <a:bodyPr wrap="square" lIns="72555" tIns="72555" rIns="72555" bIns="72555">
            <a:spAutoFit/>
          </a:bodyPr>
          <a:lstStyle/>
          <a:p>
            <a:pPr defTabSz="1219170"/>
            <a:r>
              <a:rPr lang="en-GB" sz="1200" b="1" dirty="0">
                <a:solidFill>
                  <a:prstClr val="black"/>
                </a:solidFill>
                <a:cs typeface="Arial" panose="020B0604020202020204" pitchFamily="34" charset="0"/>
              </a:rPr>
              <a:t>Hamburg, Germany</a:t>
            </a:r>
          </a:p>
          <a:p>
            <a:pPr defTabSz="1219170"/>
            <a:r>
              <a:rPr lang="en-GB" sz="1200" dirty="0">
                <a:solidFill>
                  <a:prstClr val="black"/>
                </a:solidFill>
                <a:cs typeface="Arial" panose="020B0604020202020204" pitchFamily="34" charset="0"/>
              </a:rPr>
              <a:t>Workforce: </a:t>
            </a:r>
            <a:r>
              <a:rPr lang="en-GB" sz="1200" dirty="0">
                <a:cs typeface="Arial" panose="020B0604020202020204" pitchFamily="34" charset="0"/>
              </a:rPr>
              <a:t>660</a:t>
            </a:r>
          </a:p>
        </p:txBody>
      </p:sp>
      <p:sp>
        <p:nvSpPr>
          <p:cNvPr id="219" name="Rectangle 487"/>
          <p:cNvSpPr>
            <a:spLocks noChangeArrowheads="1"/>
          </p:cNvSpPr>
          <p:nvPr/>
        </p:nvSpPr>
        <p:spPr bwMode="auto">
          <a:xfrm>
            <a:off x="734120" y="3362884"/>
            <a:ext cx="2235421" cy="515859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ffectLst>
            <a:outerShdw blurRad="101600" dist="38100" dir="3360000" sx="97000" sy="97000" algn="l" rotWithShape="0">
              <a:prstClr val="black">
                <a:alpha val="32000"/>
              </a:prstClr>
            </a:outerShdw>
          </a:effectLst>
        </p:spPr>
        <p:txBody>
          <a:bodyPr wrap="square" lIns="72555" tIns="72555" rIns="72555" bIns="72555">
            <a:spAutoFit/>
          </a:bodyPr>
          <a:lstStyle/>
          <a:p>
            <a:pPr defTabSz="1219170"/>
            <a:r>
              <a:rPr lang="en-GB" sz="1200" b="1" dirty="0">
                <a:solidFill>
                  <a:prstClr val="black"/>
                </a:solidFill>
                <a:cs typeface="Arial" panose="020B0604020202020204" pitchFamily="34" charset="0"/>
              </a:rPr>
              <a:t>Neuss, Germany</a:t>
            </a:r>
          </a:p>
          <a:p>
            <a:pPr defTabSz="1219170"/>
            <a:r>
              <a:rPr lang="en-GB" sz="1200" dirty="0">
                <a:solidFill>
                  <a:prstClr val="black"/>
                </a:solidFill>
                <a:cs typeface="Arial" panose="020B0604020202020204" pitchFamily="34" charset="0"/>
              </a:rPr>
              <a:t>Workforce: </a:t>
            </a:r>
            <a:r>
              <a:rPr lang="en-GB" sz="1200" dirty="0">
                <a:cs typeface="Arial" panose="020B0604020202020204" pitchFamily="34" charset="0"/>
              </a:rPr>
              <a:t>750</a:t>
            </a:r>
          </a:p>
        </p:txBody>
      </p:sp>
      <p:sp>
        <p:nvSpPr>
          <p:cNvPr id="220" name="Rectangle 487"/>
          <p:cNvSpPr>
            <a:spLocks noChangeArrowheads="1"/>
          </p:cNvSpPr>
          <p:nvPr/>
        </p:nvSpPr>
        <p:spPr bwMode="auto">
          <a:xfrm>
            <a:off x="734120" y="4267693"/>
            <a:ext cx="2235421" cy="700525"/>
          </a:xfrm>
          <a:prstGeom prst="rect">
            <a:avLst/>
          </a:prstGeom>
          <a:solidFill>
            <a:schemeClr val="bg1"/>
          </a:solidFill>
          <a:ln w="3175">
            <a:solidFill>
              <a:schemeClr val="tx2">
                <a:lumMod val="60000"/>
                <a:lumOff val="40000"/>
              </a:schemeClr>
            </a:solidFill>
            <a:prstDash val="solid"/>
            <a:miter lim="800000"/>
            <a:headEnd/>
            <a:tailEnd/>
          </a:ln>
          <a:effectLst>
            <a:outerShdw blurRad="101600" dist="38100" dir="3360000" sx="97000" sy="97000" algn="l" rotWithShape="0">
              <a:prstClr val="black">
                <a:alpha val="32000"/>
              </a:prstClr>
            </a:outerShdw>
          </a:effectLst>
        </p:spPr>
        <p:txBody>
          <a:bodyPr wrap="square" lIns="72555" tIns="72555" rIns="72555" bIns="72555">
            <a:spAutoFit/>
          </a:bodyPr>
          <a:lstStyle/>
          <a:p>
            <a:pPr defTabSz="1219170"/>
            <a:r>
              <a:rPr lang="en-GB" sz="1200" b="1" dirty="0">
                <a:solidFill>
                  <a:prstClr val="black"/>
                </a:solidFill>
                <a:cs typeface="Arial" panose="020B0604020202020204" pitchFamily="34" charset="0"/>
              </a:rPr>
              <a:t>Bonn, Germany</a:t>
            </a:r>
          </a:p>
          <a:p>
            <a:pPr defTabSz="1219170"/>
            <a:r>
              <a:rPr lang="en-GB" sz="1200" dirty="0">
                <a:solidFill>
                  <a:prstClr val="black"/>
                </a:solidFill>
                <a:cs typeface="Arial" panose="020B0604020202020204" pitchFamily="34" charset="0"/>
              </a:rPr>
              <a:t>R&amp;D Centre</a:t>
            </a:r>
          </a:p>
          <a:p>
            <a:pPr defTabSz="1219170"/>
            <a:r>
              <a:rPr lang="en-GB" sz="1200" dirty="0">
                <a:solidFill>
                  <a:prstClr val="black"/>
                </a:solidFill>
                <a:cs typeface="Arial" panose="020B0604020202020204" pitchFamily="34" charset="0"/>
              </a:rPr>
              <a:t>Workforce</a:t>
            </a:r>
            <a:r>
              <a:rPr lang="en-GB" sz="1200" dirty="0">
                <a:cs typeface="Arial" panose="020B0604020202020204" pitchFamily="34" charset="0"/>
              </a:rPr>
              <a:t>: 120</a:t>
            </a:r>
          </a:p>
        </p:txBody>
      </p:sp>
      <p:sp>
        <p:nvSpPr>
          <p:cNvPr id="221" name="Oval 95"/>
          <p:cNvSpPr>
            <a:spLocks noChangeArrowheads="1"/>
          </p:cNvSpPr>
          <p:nvPr/>
        </p:nvSpPr>
        <p:spPr bwMode="auto">
          <a:xfrm>
            <a:off x="731887" y="5465085"/>
            <a:ext cx="120707" cy="120707"/>
          </a:xfrm>
          <a:prstGeom prst="ellipse">
            <a:avLst/>
          </a:prstGeom>
          <a:solidFill>
            <a:srgbClr val="6600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19969" anchor="ctr"/>
          <a:lstStyle/>
          <a:p>
            <a:pPr algn="ctr"/>
            <a:endParaRPr lang="en-GB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3" name="Oval 95"/>
          <p:cNvSpPr>
            <a:spLocks noChangeArrowheads="1"/>
          </p:cNvSpPr>
          <p:nvPr/>
        </p:nvSpPr>
        <p:spPr bwMode="auto">
          <a:xfrm>
            <a:off x="720236" y="5665915"/>
            <a:ext cx="120707" cy="120707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/>
        </p:spPr>
        <p:txBody>
          <a:bodyPr wrap="none" lIns="119969" anchor="ctr"/>
          <a:lstStyle/>
          <a:p>
            <a:pPr algn="ctr"/>
            <a:endParaRPr lang="en-GB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4" name="Oval 95"/>
          <p:cNvSpPr>
            <a:spLocks noChangeArrowheads="1"/>
          </p:cNvSpPr>
          <p:nvPr/>
        </p:nvSpPr>
        <p:spPr bwMode="auto">
          <a:xfrm>
            <a:off x="2218381" y="5465085"/>
            <a:ext cx="120707" cy="120707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none" lIns="119969" anchor="ctr"/>
          <a:lstStyle/>
          <a:p>
            <a:pPr algn="ctr"/>
            <a:endParaRPr lang="en-GB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5" name="Oval 95"/>
          <p:cNvSpPr>
            <a:spLocks noChangeArrowheads="1"/>
          </p:cNvSpPr>
          <p:nvPr/>
        </p:nvSpPr>
        <p:spPr bwMode="auto">
          <a:xfrm>
            <a:off x="2216777" y="5670004"/>
            <a:ext cx="120707" cy="120707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txBody>
          <a:bodyPr wrap="none" lIns="119969" anchor="ctr"/>
          <a:lstStyle/>
          <a:p>
            <a:pPr algn="ctr"/>
            <a:endParaRPr lang="en-GB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Textplatzhalter 6"/>
          <p:cNvSpPr>
            <a:spLocks noGrp="1"/>
          </p:cNvSpPr>
          <p:nvPr>
            <p:ph type="body" sz="quarter" idx="4294967295"/>
          </p:nvPr>
        </p:nvSpPr>
        <p:spPr>
          <a:xfrm>
            <a:off x="722848" y="6021425"/>
            <a:ext cx="9361115" cy="3599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/>
              <a:t>* Including subsidiaries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dirty="0"/>
              <a:t>** 50:50 joint venture</a:t>
            </a:r>
          </a:p>
        </p:txBody>
      </p:sp>
    </p:spTree>
    <p:extLst>
      <p:ext uri="{BB962C8B-B14F-4D97-AF65-F5344CB8AC3E}">
        <p14:creationId xmlns:p14="http://schemas.microsoft.com/office/powerpoint/2010/main" val="3067441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31D382-FABE-4617-966E-E952AD65F2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ydro Rolling; De viktigste fabrikken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DF0D265-78B2-4F3D-AF37-63C2A161DC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3</a:t>
            </a:fld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50F1C9EA-4FBC-4CEA-AB45-D9AB420214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F5D028A2-39D8-4516-BEC1-B7EC845820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7903" y="920354"/>
            <a:ext cx="6096528" cy="34292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F568F12B-5FD1-4151-A6F9-BA1EA1D5400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7016" y="1400838"/>
            <a:ext cx="6096528" cy="34292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BC246395-5EF6-49AF-A9F4-E12B3C153A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6129" y="1881326"/>
            <a:ext cx="6096528" cy="34292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4F49BE79-2CFE-440A-BFF7-32B93C7EA8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75242" y="2347985"/>
            <a:ext cx="6096528" cy="34292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7B04FE59-985E-49CB-A4F8-5CFD3F416D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00150" y="2837502"/>
            <a:ext cx="6096528" cy="342929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2A05FCE6-CED5-4391-8347-0381B97CD92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45280" y="3329763"/>
            <a:ext cx="6096528" cy="3429297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96471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istori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/>
              <a:t>Hydro Rolling; et selskap med dype røtter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7408" y="1268760"/>
            <a:ext cx="3600400" cy="222656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79291" y="1258930"/>
            <a:ext cx="7333333" cy="411428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75248" y="3068960"/>
            <a:ext cx="2660512" cy="3241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40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E5B83F06-FB40-446D-A906-91B16AFA23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E5B83F06-FB40-446D-A906-91B16AFA23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729EAE5B-5082-4588-AD82-460D41BFB80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E64E0F9-292D-49C9-9BC4-9D6E1AF2B6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52105" y="2384425"/>
            <a:ext cx="5173146" cy="3341994"/>
          </a:xfrm>
        </p:spPr>
        <p:txBody>
          <a:bodyPr vert="horz" lIns="0" tIns="0" rIns="0" bIns="0" rtlCol="0" anchor="t">
            <a:noAutofit/>
          </a:bodyPr>
          <a:lstStyle/>
          <a:p>
            <a:pPr marL="182245" indent="-182245">
              <a:spcBef>
                <a:spcPts val="1800"/>
              </a:spcBef>
            </a:pPr>
            <a:r>
              <a:rPr lang="en-US" sz="1800">
                <a:ea typeface="+mn-lt"/>
                <a:cs typeface="+mn-lt"/>
              </a:rPr>
              <a:t>BNOK 7.3 improvement ambition</a:t>
            </a:r>
          </a:p>
          <a:p>
            <a:pPr marL="182245" indent="-182245">
              <a:spcBef>
                <a:spcPts val="1800"/>
              </a:spcBef>
            </a:pPr>
            <a:r>
              <a:rPr lang="en-US" sz="1800">
                <a:ea typeface="+mn-lt"/>
                <a:cs typeface="+mn-lt"/>
              </a:rPr>
              <a:t>Strategic review and restructuring of Rolled Products</a:t>
            </a:r>
          </a:p>
          <a:p>
            <a:pPr marL="182245" indent="-182245">
              <a:spcBef>
                <a:spcPts val="1800"/>
              </a:spcBef>
            </a:pPr>
            <a:r>
              <a:rPr lang="en-US" sz="1800">
                <a:ea typeface="+mn-lt"/>
                <a:cs typeface="+mn-lt"/>
              </a:rPr>
              <a:t>New capital allocation framework and strict capital discipline</a:t>
            </a:r>
          </a:p>
          <a:p>
            <a:pPr marL="182245" indent="-182245">
              <a:spcBef>
                <a:spcPts val="1800"/>
              </a:spcBef>
            </a:pPr>
            <a:r>
              <a:rPr lang="en-US" sz="1800">
                <a:ea typeface="+mn-lt"/>
                <a:cs typeface="+mn-lt"/>
              </a:rPr>
              <a:t>10% </a:t>
            </a:r>
            <a:r>
              <a:rPr lang="en-US" sz="1800" err="1">
                <a:ea typeface="+mn-lt"/>
                <a:cs typeface="+mn-lt"/>
              </a:rPr>
              <a:t>RoaCE</a:t>
            </a:r>
            <a:r>
              <a:rPr lang="en-US" sz="1800">
                <a:ea typeface="+mn-lt"/>
                <a:cs typeface="+mn-lt"/>
              </a:rPr>
              <a:t> target over the cycle</a:t>
            </a:r>
          </a:p>
          <a:p>
            <a:pPr marL="182245" indent="-182245">
              <a:spcBef>
                <a:spcPts val="1800"/>
              </a:spcBef>
            </a:pPr>
            <a:r>
              <a:rPr lang="en-US" sz="1800">
                <a:ea typeface="+mn-lt"/>
                <a:cs typeface="+mn-lt"/>
              </a:rPr>
              <a:t>Cut CO</a:t>
            </a:r>
            <a:r>
              <a:rPr lang="en-US" sz="1800" baseline="-25000">
                <a:ea typeface="+mn-lt"/>
                <a:cs typeface="+mn-lt"/>
              </a:rPr>
              <a:t>2</a:t>
            </a:r>
            <a:r>
              <a:rPr lang="en-US" sz="1800">
                <a:ea typeface="+mn-lt"/>
                <a:cs typeface="+mn-lt"/>
              </a:rPr>
              <a:t> emissions by 30% by 2030</a:t>
            </a:r>
          </a:p>
          <a:p>
            <a:pPr marL="182245" indent="-182245">
              <a:spcBef>
                <a:spcPts val="1800"/>
              </a:spcBef>
            </a:pPr>
            <a:r>
              <a:rPr lang="en-US" sz="1800">
                <a:ea typeface="+mn-lt"/>
                <a:cs typeface="+mn-lt"/>
              </a:rPr>
              <a:t>Differentiating through low-carbon position </a:t>
            </a:r>
          </a:p>
          <a:p>
            <a:pPr marL="182245" indent="-182245">
              <a:spcBef>
                <a:spcPts val="1800"/>
              </a:spcBef>
            </a:pPr>
            <a:endParaRPr lang="en-US" sz="1800">
              <a:ea typeface="+mn-lt"/>
              <a:cs typeface="+mn-lt"/>
            </a:endParaRPr>
          </a:p>
          <a:p>
            <a:pPr marL="182245" indent="-182245">
              <a:spcBef>
                <a:spcPts val="1800"/>
              </a:spcBef>
            </a:pPr>
            <a:endParaRPr lang="en-US" sz="1800">
              <a:ea typeface="+mn-lt"/>
              <a:cs typeface="+mn-lt"/>
            </a:endParaRPr>
          </a:p>
        </p:txBody>
      </p:sp>
      <p:sp>
        <p:nvSpPr>
          <p:cNvPr id="40" name="Text Placeholder 11">
            <a:extLst>
              <a:ext uri="{FF2B5EF4-FFF2-40B4-BE49-F238E27FC236}">
                <a16:creationId xmlns:a16="http://schemas.microsoft.com/office/drawing/2014/main" xmlns="" id="{D6FBAA3D-F35C-4552-889C-251A5B59C8BC}"/>
              </a:ext>
            </a:extLst>
          </p:cNvPr>
          <p:cNvSpPr txBox="1">
            <a:spLocks/>
          </p:cNvSpPr>
          <p:nvPr/>
        </p:nvSpPr>
        <p:spPr>
          <a:xfrm>
            <a:off x="6355796" y="6165849"/>
            <a:ext cx="5364163" cy="4667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ClrTx/>
              <a:buFont typeface="Arial" panose="020B0604020202020204" pitchFamily="34" charset="0"/>
              <a:buNone/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444D5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% target is Underlying Return on Average Capital Employed 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xmlns="" id="{0ECA535F-3882-4767-859C-2579FC9D997A}"/>
              </a:ext>
            </a:extLst>
          </p:cNvPr>
          <p:cNvSpPr txBox="1">
            <a:spLocks/>
          </p:cNvSpPr>
          <p:nvPr/>
        </p:nvSpPr>
        <p:spPr>
          <a:xfrm>
            <a:off x="6355796" y="448310"/>
            <a:ext cx="5364163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>
                <a:solidFill>
                  <a:srgbClr val="444D55"/>
                </a:solidFill>
                <a:latin typeface="Arial"/>
              </a:rPr>
              <a:t>New CEO 2019 with forceful agenda 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xmlns="" id="{08699804-814C-4D5D-A455-B06C236E2C64}"/>
              </a:ext>
            </a:extLst>
          </p:cNvPr>
          <p:cNvSpPr txBox="1">
            <a:spLocks/>
          </p:cNvSpPr>
          <p:nvPr/>
        </p:nvSpPr>
        <p:spPr>
          <a:xfrm>
            <a:off x="6355797" y="1413566"/>
            <a:ext cx="5712378" cy="6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2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87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>
                <a:solidFill>
                  <a:srgbClr val="8C8C8C"/>
                </a:solidFill>
                <a:latin typeface="Arial"/>
              </a:rPr>
              <a:t>Focusing on levers we control ourselves</a:t>
            </a:r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b="0" i="0" u="none" strike="noStrike" kern="1200" cap="none" spc="0" normalizeH="0" baseline="0" noProof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4CC69A2C-C880-44D3-AD43-B4C52D70DBBB}"/>
              </a:ext>
            </a:extLst>
          </p:cNvPr>
          <p:cNvSpPr/>
          <p:nvPr/>
        </p:nvSpPr>
        <p:spPr>
          <a:xfrm>
            <a:off x="-586" y="0"/>
            <a:ext cx="5840483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xmlns="" id="{98D0E804-5CF4-4050-BC9F-8906736CA13F}"/>
              </a:ext>
            </a:extLst>
          </p:cNvPr>
          <p:cNvGrpSpPr/>
          <p:nvPr/>
        </p:nvGrpSpPr>
        <p:grpSpPr>
          <a:xfrm>
            <a:off x="1095428" y="2277081"/>
            <a:ext cx="3556777" cy="3540087"/>
            <a:chOff x="1809399" y="1365015"/>
            <a:chExt cx="2480043" cy="2468405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CAC56718-2182-4EAE-AA74-3E90283DB36C}"/>
                </a:ext>
              </a:extLst>
            </p:cNvPr>
            <p:cNvGrpSpPr/>
            <p:nvPr/>
          </p:nvGrpSpPr>
          <p:grpSpPr>
            <a:xfrm>
              <a:off x="1856664" y="1448965"/>
              <a:ext cx="2413731" cy="2384455"/>
              <a:chOff x="1856664" y="1448965"/>
              <a:chExt cx="2413731" cy="2384455"/>
            </a:xfrm>
          </p:grpSpPr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xmlns="" id="{D214C92F-DCEF-42EF-8E20-3FBA6EC639CE}"/>
                  </a:ext>
                </a:extLst>
              </p:cNvPr>
              <p:cNvSpPr/>
              <p:nvPr/>
            </p:nvSpPr>
            <p:spPr>
              <a:xfrm>
                <a:off x="3847119" y="1448965"/>
                <a:ext cx="423276" cy="388003"/>
              </a:xfrm>
              <a:custGeom>
                <a:avLst/>
                <a:gdLst>
                  <a:gd name="connsiteX0" fmla="*/ 0 w 423275"/>
                  <a:gd name="connsiteY0" fmla="*/ 0 h 388003"/>
                  <a:gd name="connsiteX1" fmla="*/ 440207 w 423275"/>
                  <a:gd name="connsiteY1" fmla="*/ 0 h 388003"/>
                  <a:gd name="connsiteX2" fmla="*/ 440207 w 423275"/>
                  <a:gd name="connsiteY2" fmla="*/ 421160 h 3880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23275" h="388003">
                    <a:moveTo>
                      <a:pt x="0" y="0"/>
                    </a:moveTo>
                    <a:lnTo>
                      <a:pt x="440207" y="0"/>
                    </a:lnTo>
                    <a:lnTo>
                      <a:pt x="440207" y="421160"/>
                    </a:lnTo>
                  </a:path>
                </a:pathLst>
              </a:custGeom>
              <a:noFill/>
              <a:ln w="52784" cap="rnd">
                <a:solidFill>
                  <a:srgbClr val="9BA2A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xmlns="" id="{DDFB9E68-E897-47E9-BCA8-6A06922D7953}"/>
                  </a:ext>
                </a:extLst>
              </p:cNvPr>
              <p:cNvSpPr/>
              <p:nvPr/>
            </p:nvSpPr>
            <p:spPr>
              <a:xfrm>
                <a:off x="1856664" y="1470129"/>
                <a:ext cx="2398563" cy="2363291"/>
              </a:xfrm>
              <a:custGeom>
                <a:avLst/>
                <a:gdLst>
                  <a:gd name="connsiteX0" fmla="*/ 0 w 2398563"/>
                  <a:gd name="connsiteY0" fmla="*/ 2383397 h 2363291"/>
                  <a:gd name="connsiteX1" fmla="*/ 2420080 w 2398563"/>
                  <a:gd name="connsiteY1" fmla="*/ 0 h 23632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398563" h="2363291">
                    <a:moveTo>
                      <a:pt x="0" y="2383397"/>
                    </a:moveTo>
                    <a:lnTo>
                      <a:pt x="2420080" y="0"/>
                    </a:lnTo>
                  </a:path>
                </a:pathLst>
              </a:custGeom>
              <a:ln w="52784" cap="rnd">
                <a:solidFill>
                  <a:srgbClr val="9BA2AD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xmlns="" id="{91591149-7FEC-459E-A44B-F43E0FD3503C}"/>
                </a:ext>
              </a:extLst>
            </p:cNvPr>
            <p:cNvGrpSpPr/>
            <p:nvPr/>
          </p:nvGrpSpPr>
          <p:grpSpPr>
            <a:xfrm>
              <a:off x="1809399" y="1365015"/>
              <a:ext cx="2480043" cy="2340961"/>
              <a:chOff x="1809399" y="1365015"/>
              <a:chExt cx="2480043" cy="2340961"/>
            </a:xfrm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xmlns="" id="{B16EB617-3FB0-4F61-9B2A-D9870D01D376}"/>
                  </a:ext>
                </a:extLst>
              </p:cNvPr>
              <p:cNvSpPr/>
              <p:nvPr/>
            </p:nvSpPr>
            <p:spPr>
              <a:xfrm>
                <a:off x="1809399" y="1365015"/>
                <a:ext cx="35273" cy="35273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52784" cap="rnd">
                <a:solidFill>
                  <a:srgbClr val="48536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xmlns="" id="{C4F34389-5033-411A-834C-AB110B8CA094}"/>
                  </a:ext>
                </a:extLst>
              </p:cNvPr>
              <p:cNvSpPr/>
              <p:nvPr/>
            </p:nvSpPr>
            <p:spPr>
              <a:xfrm>
                <a:off x="1809399" y="1365015"/>
                <a:ext cx="35273" cy="35273"/>
              </a:xfrm>
              <a:custGeom>
                <a:avLst/>
                <a:gdLst/>
                <a:ahLst/>
                <a:cxnLst/>
                <a:rect l="l" t="t" r="r" b="b"/>
                <a:pathLst>
                  <a:path/>
                </a:pathLst>
              </a:custGeom>
              <a:noFill/>
              <a:ln w="52784" cap="rnd">
                <a:solidFill>
                  <a:srgbClr val="485362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xmlns="" id="{1AD595DC-E344-45E0-B819-B40D1ADAFAAB}"/>
                  </a:ext>
                </a:extLst>
              </p:cNvPr>
              <p:cNvSpPr/>
              <p:nvPr/>
            </p:nvSpPr>
            <p:spPr>
              <a:xfrm>
                <a:off x="1849555" y="1519050"/>
                <a:ext cx="2151652" cy="2186926"/>
              </a:xfrm>
              <a:custGeom>
                <a:avLst/>
                <a:gdLst>
                  <a:gd name="connsiteX0" fmla="*/ 1154187 w 2151652"/>
                  <a:gd name="connsiteY0" fmla="*/ 2185270 h 2186926"/>
                  <a:gd name="connsiteX1" fmla="*/ 1716 w 2151652"/>
                  <a:gd name="connsiteY1" fmla="*/ 1154187 h 2186926"/>
                  <a:gd name="connsiteX2" fmla="*/ 1032799 w 2151652"/>
                  <a:gd name="connsiteY2" fmla="*/ 1716 h 2186926"/>
                  <a:gd name="connsiteX3" fmla="*/ 2185216 w 2151652"/>
                  <a:gd name="connsiteY3" fmla="*/ 1031843 h 2186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151652" h="2186926">
                    <a:moveTo>
                      <a:pt x="1154187" y="2185270"/>
                    </a:moveTo>
                    <a:cubicBezTo>
                      <a:pt x="551215" y="2218791"/>
                      <a:pt x="35236" y="1757159"/>
                      <a:pt x="1716" y="1154187"/>
                    </a:cubicBezTo>
                    <a:cubicBezTo>
                      <a:pt x="-31804" y="551215"/>
                      <a:pt x="429827" y="35236"/>
                      <a:pt x="1032799" y="1716"/>
                    </a:cubicBezTo>
                    <a:cubicBezTo>
                      <a:pt x="1635397" y="-31784"/>
                      <a:pt x="2151189" y="429274"/>
                      <a:pt x="2185216" y="1031843"/>
                    </a:cubicBezTo>
                  </a:path>
                </a:pathLst>
              </a:custGeom>
              <a:noFill/>
              <a:ln w="52784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xmlns="" id="{981D335E-F367-442C-B29E-4876ED9C53C0}"/>
                  </a:ext>
                </a:extLst>
              </p:cNvPr>
              <p:cNvSpPr/>
              <p:nvPr/>
            </p:nvSpPr>
            <p:spPr>
              <a:xfrm>
                <a:off x="3003742" y="3128665"/>
                <a:ext cx="881825" cy="564368"/>
              </a:xfrm>
              <a:custGeom>
                <a:avLst/>
                <a:gdLst>
                  <a:gd name="connsiteX0" fmla="*/ 904047 w 881824"/>
                  <a:gd name="connsiteY0" fmla="*/ 0 h 564368"/>
                  <a:gd name="connsiteX1" fmla="*/ 0 w 881824"/>
                  <a:gd name="connsiteY1" fmla="*/ 575655 h 5643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881824" h="564368">
                    <a:moveTo>
                      <a:pt x="904047" y="0"/>
                    </a:moveTo>
                    <a:cubicBezTo>
                      <a:pt x="723844" y="336539"/>
                      <a:pt x="381175" y="554736"/>
                      <a:pt x="0" y="575655"/>
                    </a:cubicBezTo>
                  </a:path>
                </a:pathLst>
              </a:custGeom>
              <a:noFill/>
              <a:ln w="52784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xmlns="" id="{225B2520-964F-470E-8873-3C0AA5A7CBAF}"/>
                  </a:ext>
                </a:extLst>
              </p:cNvPr>
              <p:cNvSpPr/>
              <p:nvPr/>
            </p:nvSpPr>
            <p:spPr>
              <a:xfrm>
                <a:off x="4034771" y="2550893"/>
                <a:ext cx="35273" cy="70546"/>
              </a:xfrm>
              <a:custGeom>
                <a:avLst/>
                <a:gdLst>
                  <a:gd name="connsiteX0" fmla="*/ 0 w 0"/>
                  <a:gd name="connsiteY0" fmla="*/ 0 h 70546"/>
                  <a:gd name="connsiteX1" fmla="*/ 0 w 0"/>
                  <a:gd name="connsiteY1" fmla="*/ 105819 h 705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70546">
                    <a:moveTo>
                      <a:pt x="0" y="0"/>
                    </a:moveTo>
                    <a:cubicBezTo>
                      <a:pt x="1772" y="35251"/>
                      <a:pt x="1772" y="70568"/>
                      <a:pt x="0" y="105819"/>
                    </a:cubicBezTo>
                  </a:path>
                </a:pathLst>
              </a:custGeom>
              <a:noFill/>
              <a:ln w="52784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xmlns="" id="{29338A7E-7CD7-4C23-AE3C-6AC2CDE9CE82}"/>
                  </a:ext>
                </a:extLst>
              </p:cNvPr>
              <p:cNvSpPr/>
              <p:nvPr/>
            </p:nvSpPr>
            <p:spPr>
              <a:xfrm>
                <a:off x="4042531" y="2408038"/>
                <a:ext cx="246911" cy="282184"/>
              </a:xfrm>
              <a:custGeom>
                <a:avLst/>
                <a:gdLst>
                  <a:gd name="connsiteX0" fmla="*/ 0 w 246910"/>
                  <a:gd name="connsiteY0" fmla="*/ 289239 h 282184"/>
                  <a:gd name="connsiteX1" fmla="*/ 276187 w 246910"/>
                  <a:gd name="connsiteY1" fmla="*/ 0 h 282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6910" h="282184">
                    <a:moveTo>
                      <a:pt x="0" y="289239"/>
                    </a:moveTo>
                    <a:lnTo>
                      <a:pt x="276187" y="0"/>
                    </a:lnTo>
                  </a:path>
                </a:pathLst>
              </a:custGeom>
              <a:ln w="52784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xmlns="" id="{C0F85D44-2876-4FB4-B153-8AD86BC1A005}"/>
                  </a:ext>
                </a:extLst>
              </p:cNvPr>
              <p:cNvSpPr/>
              <p:nvPr/>
            </p:nvSpPr>
            <p:spPr>
              <a:xfrm>
                <a:off x="3750118" y="2397808"/>
                <a:ext cx="282184" cy="282184"/>
              </a:xfrm>
              <a:custGeom>
                <a:avLst/>
                <a:gdLst>
                  <a:gd name="connsiteX0" fmla="*/ 0 w 282183"/>
                  <a:gd name="connsiteY0" fmla="*/ 0 h 282184"/>
                  <a:gd name="connsiteX1" fmla="*/ 280420 w 282183"/>
                  <a:gd name="connsiteY1" fmla="*/ 287475 h 282184"/>
                  <a:gd name="connsiteX2" fmla="*/ 292413 w 282183"/>
                  <a:gd name="connsiteY2" fmla="*/ 299468 h 2821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82183" h="282184">
                    <a:moveTo>
                      <a:pt x="0" y="0"/>
                    </a:moveTo>
                    <a:lnTo>
                      <a:pt x="280420" y="287475"/>
                    </a:lnTo>
                    <a:lnTo>
                      <a:pt x="292413" y="299468"/>
                    </a:lnTo>
                  </a:path>
                </a:pathLst>
              </a:custGeom>
              <a:noFill/>
              <a:ln w="52784" cap="rnd">
                <a:solidFill>
                  <a:schemeClr val="bg1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B23748EF-4287-4F01-8A5F-09AE0AF76F45}"/>
              </a:ext>
            </a:extLst>
          </p:cNvPr>
          <p:cNvSpPr txBox="1"/>
          <p:nvPr/>
        </p:nvSpPr>
        <p:spPr>
          <a:xfrm>
            <a:off x="1700" y="626085"/>
            <a:ext cx="5832017" cy="106313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>
              <a:defRPr/>
            </a:pPr>
            <a:r>
              <a:rPr lang="en-GB" sz="3200" b="1">
                <a:solidFill>
                  <a:srgbClr val="768692"/>
                </a:solidFill>
                <a:latin typeface="Arial"/>
              </a:rPr>
              <a:t>Profitability &amp;</a:t>
            </a:r>
            <a:r>
              <a:rPr lang="en-GB" sz="3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</a:rPr>
              <a:t/>
            </a:r>
            <a:br>
              <a:rPr lang="en-GB" sz="3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</a:rPr>
            </a:br>
            <a:r>
              <a:rPr lang="en-GB" sz="3200" b="1">
                <a:solidFill>
                  <a:srgbClr val="FFFFFF"/>
                </a:solidFill>
                <a:latin typeface="Arial"/>
              </a:rPr>
              <a:t>sustainability</a:t>
            </a:r>
            <a:endParaRPr lang="en-GB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167967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1B9EF34-3963-47DA-8328-9BF7D6106E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71B9EF34-3963-47DA-8328-9BF7D6106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84EA2533-4F88-4A51-B278-139DB551D0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378A28D7-7180-44EB-A894-24D742B37B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nb-NO" sz="2400" b="0">
                <a:latin typeface="+mj-lt"/>
              </a:rPr>
              <a:t>Hydro inngår avtale om å selge valsevirksomheten Rolling til KPS Capital Partner for 1.380 millioner euro på basis av selskapsverdi. 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B95F8805-6D02-4405-BAFF-F1F1FFE35EA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82245" indent="-182245"/>
            <a:r>
              <a:rPr lang="nb-NO" dirty="0"/>
              <a:t>Transaksjonen omfatter Hydros heleide Rolling-virksomhet med virksomhet i Tyskland og Norge.  </a:t>
            </a:r>
          </a:p>
          <a:p>
            <a:pPr lvl="1"/>
            <a:r>
              <a:rPr lang="nb-NO" dirty="0"/>
              <a:t>Transaksjonen omfatter de juridiske enhetene HARP </a:t>
            </a:r>
            <a:r>
              <a:rPr lang="nb-NO" dirty="0" err="1"/>
              <a:t>GmbH</a:t>
            </a:r>
            <a:r>
              <a:rPr lang="nb-NO" dirty="0"/>
              <a:t> og HARP AS, i tillegg til de globale salgskontorene knyttet il selskapene.</a:t>
            </a:r>
            <a:r>
              <a:rPr lang="nb-NO" dirty="0">
                <a:solidFill>
                  <a:srgbClr val="FF0000"/>
                </a:solidFill>
              </a:rPr>
              <a:t> </a:t>
            </a:r>
          </a:p>
          <a:p>
            <a:pPr marL="182245" indent="-182245"/>
            <a:r>
              <a:rPr lang="nb-NO" dirty="0"/>
              <a:t>Hydro Rolling har sju anlegg</a:t>
            </a:r>
            <a:r>
              <a:rPr lang="nb-NO" baseline="30000" dirty="0"/>
              <a:t>1)</a:t>
            </a:r>
            <a:r>
              <a:rPr lang="nb-NO" dirty="0"/>
              <a:t>, et FoU-senter, globale salgskontorer og til sammen 5.000 ansatte, der 650 arbeider i Norge og resten hovedsakelig i Tyskland.  </a:t>
            </a:r>
          </a:p>
          <a:p>
            <a:pPr marL="182245" indent="-182245"/>
            <a:r>
              <a:rPr lang="nb-NO" dirty="0"/>
              <a:t>Forretningsområdet bidro med om lag 24 milliarder kroner i inntekter (17 % av Hydro totalt) og 1,3 milliarder kroner i underliggende EBITDA (9 % prosent av Hydro totalt) i 2020.</a:t>
            </a:r>
          </a:p>
          <a:p>
            <a:pPr marL="182245" indent="-182245"/>
            <a:r>
              <a:rPr lang="nb-NO" dirty="0"/>
              <a:t>Rolling hadde et salg på 864.000 tonn i 2020, som gikk til markedssegmenter for drikkebokser, folie, litografiske plater, bilkomponenter og generelle tekniske produkter.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xmlns="" id="{21FB9AFC-6885-4964-A1FA-CBEE815B2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16AA9A-AFE6-4901-A70C-4F1A87BEB78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Bildplatzhalter 6" descr="Ein Bild, das drinnen, weiß enthält.&#10;&#10;Automatisch generierte Beschreibung">
            <a:extLst>
              <a:ext uri="{FF2B5EF4-FFF2-40B4-BE49-F238E27FC236}">
                <a16:creationId xmlns:a16="http://schemas.microsoft.com/office/drawing/2014/main" xmlns="" id="{EC222741-E07B-4E89-A1CE-5CB4845E5D3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33" r="21633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F3E79D95-17D0-4096-89CB-7A52EAC44D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/>
              <a:t>1) To i Norge og fem i Tyskland, hvorav ett 50 %-eid joint venture-selskap (Alunorf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0754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71B9EF34-3963-47DA-8328-9BF7D6106E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71B9EF34-3963-47DA-8328-9BF7D6106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9EF5647A-06A2-4985-96AC-778C4C40C2F2}"/>
              </a:ext>
            </a:extLst>
          </p:cNvPr>
          <p:cNvSpPr txBox="1"/>
          <p:nvPr/>
        </p:nvSpPr>
        <p:spPr>
          <a:xfrm>
            <a:off x="7229735" y="19489"/>
            <a:ext cx="4983042" cy="686473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l"/>
            <a:endParaRPr lang="nb-NO">
              <a:solidFill>
                <a:schemeClr val="tx2"/>
              </a:solidFill>
            </a:endParaRP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xmlns="" id="{84EA2533-4F88-4A51-B278-139DB551D05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xmlns="" id="{378A28D7-7180-44EB-A894-24D742B37B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6899275" cy="997196"/>
          </a:xfr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 sz="3600" b="0">
                <a:latin typeface="+mj-lt"/>
              </a:rPr>
              <a:t>KPS Capital Partner kan vise til gode resultater i industriell virksomhet. 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xmlns="" id="{63612C59-4D7C-4B51-BFE3-7B09E2912A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82518" y="6416675"/>
            <a:ext cx="742991" cy="215900"/>
          </a:xfrm>
        </p:spPr>
        <p:txBody>
          <a:bodyPr/>
          <a:lstStyle/>
          <a:p>
            <a:fld id="{FB16AA9A-AFE6-4901-A70C-4F1A87BEB784}" type="slidenum">
              <a:rPr lang="en-GB" smtClean="0">
                <a:solidFill>
                  <a:schemeClr val="bg2"/>
                </a:solidFill>
              </a:rPr>
              <a:t>7</a:t>
            </a:fld>
            <a:endParaRPr lang="en-GB">
              <a:solidFill>
                <a:schemeClr val="bg2"/>
              </a:solidFill>
            </a:endParaRPr>
          </a:p>
        </p:txBody>
      </p:sp>
      <p:sp>
        <p:nvSpPr>
          <p:cNvPr id="228" name="Oval 227">
            <a:extLst>
              <a:ext uri="{FF2B5EF4-FFF2-40B4-BE49-F238E27FC236}">
                <a16:creationId xmlns:a16="http://schemas.microsoft.com/office/drawing/2014/main" xmlns="" id="{15A8BE8A-A66C-4B71-A481-70F52740ADFD}"/>
              </a:ext>
            </a:extLst>
          </p:cNvPr>
          <p:cNvSpPr/>
          <p:nvPr/>
        </p:nvSpPr>
        <p:spPr>
          <a:xfrm>
            <a:off x="595375" y="5465337"/>
            <a:ext cx="137160" cy="13716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xmlns="" id="{395A1534-8FDD-441C-AE65-805860029917}"/>
              </a:ext>
            </a:extLst>
          </p:cNvPr>
          <p:cNvSpPr txBox="1"/>
          <p:nvPr/>
        </p:nvSpPr>
        <p:spPr>
          <a:xfrm>
            <a:off x="785327" y="5439937"/>
            <a:ext cx="4119560" cy="2907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nb-NO" sz="1100">
                <a:solidFill>
                  <a:schemeClr val="accent1"/>
                </a:solidFill>
              </a:rPr>
              <a:t>KPS’ porteføljeselskaper driver 159 produksjonsanlegg i 22 land, og sysselsetter 34.000 mennesker over hele verden.</a:t>
            </a:r>
          </a:p>
        </p:txBody>
      </p:sp>
      <p:sp>
        <p:nvSpPr>
          <p:cNvPr id="230" name="Oval 229">
            <a:extLst>
              <a:ext uri="{FF2B5EF4-FFF2-40B4-BE49-F238E27FC236}">
                <a16:creationId xmlns:a16="http://schemas.microsoft.com/office/drawing/2014/main" xmlns="" id="{D9694A7E-CE89-453C-848F-B9912E7C30BC}"/>
              </a:ext>
            </a:extLst>
          </p:cNvPr>
          <p:cNvSpPr/>
          <p:nvPr/>
        </p:nvSpPr>
        <p:spPr>
          <a:xfrm>
            <a:off x="595375" y="5885343"/>
            <a:ext cx="137160" cy="13716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xmlns="" id="{EADED826-FB51-478C-93FD-0FC069E2D466}"/>
              </a:ext>
            </a:extLst>
          </p:cNvPr>
          <p:cNvSpPr txBox="1"/>
          <p:nvPr/>
        </p:nvSpPr>
        <p:spPr>
          <a:xfrm>
            <a:off x="785329" y="5860409"/>
            <a:ext cx="4119558" cy="294934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nb-NO" sz="1100">
                <a:solidFill>
                  <a:schemeClr val="accent1"/>
                </a:solidFill>
              </a:rPr>
              <a:t>Hovedkontor i New York og europeiske kontorer i Frankfurt og Amsterdam</a:t>
            </a:r>
          </a:p>
        </p:txBody>
      </p:sp>
      <p:pic>
        <p:nvPicPr>
          <p:cNvPr id="233" name="Picture 232">
            <a:extLst>
              <a:ext uri="{FF2B5EF4-FFF2-40B4-BE49-F238E27FC236}">
                <a16:creationId xmlns:a16="http://schemas.microsoft.com/office/drawing/2014/main" xmlns="" id="{F14102EE-8D30-4B0C-874F-5F2E7C6ACBD7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693457" y="542304"/>
            <a:ext cx="2226429" cy="79523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CAB378F8-E562-43CE-97A5-CABAE1DD23B1}"/>
              </a:ext>
            </a:extLst>
          </p:cNvPr>
          <p:cNvSpPr txBox="1"/>
          <p:nvPr/>
        </p:nvSpPr>
        <p:spPr>
          <a:xfrm>
            <a:off x="7820178" y="6455421"/>
            <a:ext cx="1450850" cy="2028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nb-NO" sz="700" i="1" baseline="30000" dirty="0">
                <a:solidFill>
                  <a:schemeClr val="tx2"/>
                </a:solidFill>
              </a:rPr>
              <a:t>1</a:t>
            </a:r>
            <a:r>
              <a:rPr lang="nb-NO" sz="700" i="1" dirty="0">
                <a:solidFill>
                  <a:schemeClr val="tx2"/>
                </a:solidFill>
              </a:rPr>
              <a:t> Per 31, desember 2020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FBAAAA8F-C6EA-4DB0-9490-A8F6AE42E6E4}"/>
              </a:ext>
            </a:extLst>
          </p:cNvPr>
          <p:cNvGrpSpPr/>
          <p:nvPr/>
        </p:nvGrpSpPr>
        <p:grpSpPr>
          <a:xfrm>
            <a:off x="495453" y="1504643"/>
            <a:ext cx="6000499" cy="3718725"/>
            <a:chOff x="839018" y="2519792"/>
            <a:chExt cx="4127274" cy="2557820"/>
          </a:xfrm>
        </p:grpSpPr>
        <p:pic>
          <p:nvPicPr>
            <p:cNvPr id="168" name="Picture 167">
              <a:extLst>
                <a:ext uri="{FF2B5EF4-FFF2-40B4-BE49-F238E27FC236}">
                  <a16:creationId xmlns:a16="http://schemas.microsoft.com/office/drawing/2014/main" xmlns="" id="{DA2C5AE5-3DB8-46FA-A3D3-39713E96490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9018" y="2519792"/>
              <a:ext cx="4127274" cy="2557820"/>
            </a:xfrm>
            <a:prstGeom prst="rect">
              <a:avLst/>
            </a:prstGeom>
            <a:noFill/>
          </p:spPr>
        </p:pic>
        <p:sp>
          <p:nvSpPr>
            <p:cNvPr id="170" name="Oval 169">
              <a:extLst>
                <a:ext uri="{FF2B5EF4-FFF2-40B4-BE49-F238E27FC236}">
                  <a16:creationId xmlns:a16="http://schemas.microsoft.com/office/drawing/2014/main" xmlns="" id="{BD430BB5-1BD6-40D8-82BD-7F8D1D4A70B1}"/>
                </a:ext>
              </a:extLst>
            </p:cNvPr>
            <p:cNvSpPr/>
            <p:nvPr/>
          </p:nvSpPr>
          <p:spPr>
            <a:xfrm>
              <a:off x="2181025" y="4519457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xmlns="" id="{E9262148-FA46-4612-BE6A-D4A4AE87E78E}"/>
                </a:ext>
              </a:extLst>
            </p:cNvPr>
            <p:cNvSpPr/>
            <p:nvPr/>
          </p:nvSpPr>
          <p:spPr>
            <a:xfrm>
              <a:off x="1570587" y="4007042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xmlns="" id="{F1DF6A21-E561-410F-B220-0A660D119A88}"/>
                </a:ext>
              </a:extLst>
            </p:cNvPr>
            <p:cNvSpPr/>
            <p:nvPr/>
          </p:nvSpPr>
          <p:spPr>
            <a:xfrm>
              <a:off x="1570587" y="3950694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xmlns="" id="{666DC99A-B273-4E01-8734-8EFBB41333D4}"/>
                </a:ext>
              </a:extLst>
            </p:cNvPr>
            <p:cNvSpPr/>
            <p:nvPr/>
          </p:nvSpPr>
          <p:spPr>
            <a:xfrm>
              <a:off x="1617544" y="3988259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xmlns="" id="{ABF975C1-145B-469A-8E57-61302ED98B06}"/>
                </a:ext>
              </a:extLst>
            </p:cNvPr>
            <p:cNvSpPr/>
            <p:nvPr/>
          </p:nvSpPr>
          <p:spPr>
            <a:xfrm>
              <a:off x="1410530" y="3725301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xmlns="" id="{61865BAE-3D0B-40AB-B0CB-B1744E197BBF}"/>
                </a:ext>
              </a:extLst>
            </p:cNvPr>
            <p:cNvSpPr/>
            <p:nvPr/>
          </p:nvSpPr>
          <p:spPr>
            <a:xfrm>
              <a:off x="1363573" y="3704171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xmlns="" id="{678C3F84-9CEF-41F1-9497-3F83A03FE75B}"/>
                </a:ext>
              </a:extLst>
            </p:cNvPr>
            <p:cNvSpPr/>
            <p:nvPr/>
          </p:nvSpPr>
          <p:spPr>
            <a:xfrm>
              <a:off x="1387051" y="3684214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xmlns="" id="{326CD4AD-101B-457F-87FC-C6FC2442D87D}"/>
                </a:ext>
              </a:extLst>
            </p:cNvPr>
            <p:cNvSpPr/>
            <p:nvPr/>
          </p:nvSpPr>
          <p:spPr>
            <a:xfrm>
              <a:off x="1590305" y="3501775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xmlns="" id="{5E252054-7A2F-46AA-A449-F292C8C1F8D7}"/>
                </a:ext>
              </a:extLst>
            </p:cNvPr>
            <p:cNvSpPr/>
            <p:nvPr/>
          </p:nvSpPr>
          <p:spPr>
            <a:xfrm>
              <a:off x="1528456" y="3605080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xmlns="" id="{6F350EFE-2ADF-4D74-87D5-CEE69EDA0273}"/>
                </a:ext>
              </a:extLst>
            </p:cNvPr>
            <p:cNvSpPr/>
            <p:nvPr/>
          </p:nvSpPr>
          <p:spPr>
            <a:xfrm>
              <a:off x="2047632" y="356212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Oval 179">
              <a:extLst>
                <a:ext uri="{FF2B5EF4-FFF2-40B4-BE49-F238E27FC236}">
                  <a16:creationId xmlns:a16="http://schemas.microsoft.com/office/drawing/2014/main" xmlns="" id="{C520762B-C6CC-4400-AFF4-187B056B135F}"/>
                </a:ext>
              </a:extLst>
            </p:cNvPr>
            <p:cNvSpPr/>
            <p:nvPr/>
          </p:nvSpPr>
          <p:spPr>
            <a:xfrm>
              <a:off x="1899314" y="3492384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xmlns="" id="{9D8D31C8-20E8-4682-B008-6A066D97415A}"/>
                </a:ext>
              </a:extLst>
            </p:cNvPr>
            <p:cNvSpPr/>
            <p:nvPr/>
          </p:nvSpPr>
          <p:spPr>
            <a:xfrm>
              <a:off x="1919635" y="3665431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xmlns="" id="{0808B14F-1942-4AB1-B040-3F20D2B4EACD}"/>
                </a:ext>
              </a:extLst>
            </p:cNvPr>
            <p:cNvSpPr/>
            <p:nvPr/>
          </p:nvSpPr>
          <p:spPr>
            <a:xfrm>
              <a:off x="1853531" y="3633254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xmlns="" id="{706B6384-5B1F-4998-A33A-DDCA0F0E11E0}"/>
                </a:ext>
              </a:extLst>
            </p:cNvPr>
            <p:cNvSpPr/>
            <p:nvPr/>
          </p:nvSpPr>
          <p:spPr>
            <a:xfrm>
              <a:off x="1768378" y="3623863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xmlns="" id="{961E058E-6DEE-4053-A805-C15B5C61FEBC}"/>
                </a:ext>
              </a:extLst>
            </p:cNvPr>
            <p:cNvSpPr/>
            <p:nvPr/>
          </p:nvSpPr>
          <p:spPr>
            <a:xfrm>
              <a:off x="1843776" y="369816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xmlns="" id="{043F1C6F-22DA-43D4-AD38-BF2AA115819C}"/>
                </a:ext>
              </a:extLst>
            </p:cNvPr>
            <p:cNvSpPr/>
            <p:nvPr/>
          </p:nvSpPr>
          <p:spPr>
            <a:xfrm>
              <a:off x="1768378" y="369816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xmlns="" id="{70769753-ABE3-40A4-B4A6-4A9F1B0BDEDD}"/>
                </a:ext>
              </a:extLst>
            </p:cNvPr>
            <p:cNvSpPr/>
            <p:nvPr/>
          </p:nvSpPr>
          <p:spPr>
            <a:xfrm>
              <a:off x="1834385" y="3745257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xmlns="" id="{AF193F60-6FD0-458A-A63E-3BD409E897FE}"/>
                </a:ext>
              </a:extLst>
            </p:cNvPr>
            <p:cNvSpPr/>
            <p:nvPr/>
          </p:nvSpPr>
          <p:spPr>
            <a:xfrm>
              <a:off x="1730813" y="3661015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xmlns="" id="{5203BFC3-E4FE-4CFD-B9A3-4EFA3D0712B7}"/>
                </a:ext>
              </a:extLst>
            </p:cNvPr>
            <p:cNvSpPr/>
            <p:nvPr/>
          </p:nvSpPr>
          <p:spPr>
            <a:xfrm>
              <a:off x="1740568" y="3745257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xmlns="" id="{A7D10C29-A68E-405F-B6F7-8168378593BC}"/>
                </a:ext>
              </a:extLst>
            </p:cNvPr>
            <p:cNvSpPr/>
            <p:nvPr/>
          </p:nvSpPr>
          <p:spPr>
            <a:xfrm>
              <a:off x="1721421" y="3782409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Oval 189">
              <a:extLst>
                <a:ext uri="{FF2B5EF4-FFF2-40B4-BE49-F238E27FC236}">
                  <a16:creationId xmlns:a16="http://schemas.microsoft.com/office/drawing/2014/main" xmlns="" id="{C2004528-3806-487E-AF1B-A9033020F164}"/>
                </a:ext>
              </a:extLst>
            </p:cNvPr>
            <p:cNvSpPr/>
            <p:nvPr/>
          </p:nvSpPr>
          <p:spPr>
            <a:xfrm>
              <a:off x="1852357" y="381227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Oval 190">
              <a:extLst>
                <a:ext uri="{FF2B5EF4-FFF2-40B4-BE49-F238E27FC236}">
                  <a16:creationId xmlns:a16="http://schemas.microsoft.com/office/drawing/2014/main" xmlns="" id="{7DB2F2DA-F63F-417C-9975-46DF782FE352}"/>
                </a:ext>
              </a:extLst>
            </p:cNvPr>
            <p:cNvSpPr/>
            <p:nvPr/>
          </p:nvSpPr>
          <p:spPr>
            <a:xfrm>
              <a:off x="1636171" y="378465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Oval 191">
              <a:extLst>
                <a:ext uri="{FF2B5EF4-FFF2-40B4-BE49-F238E27FC236}">
                  <a16:creationId xmlns:a16="http://schemas.microsoft.com/office/drawing/2014/main" xmlns="" id="{E2656744-1E27-4E45-9E9C-BEFF5F41557C}"/>
                </a:ext>
              </a:extLst>
            </p:cNvPr>
            <p:cNvSpPr/>
            <p:nvPr/>
          </p:nvSpPr>
          <p:spPr>
            <a:xfrm>
              <a:off x="1711303" y="3690222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Oval 192">
              <a:extLst>
                <a:ext uri="{FF2B5EF4-FFF2-40B4-BE49-F238E27FC236}">
                  <a16:creationId xmlns:a16="http://schemas.microsoft.com/office/drawing/2014/main" xmlns="" id="{957E5756-51CF-40E3-BC8B-CC7CDE74E232}"/>
                </a:ext>
              </a:extLst>
            </p:cNvPr>
            <p:cNvSpPr/>
            <p:nvPr/>
          </p:nvSpPr>
          <p:spPr>
            <a:xfrm>
              <a:off x="2902134" y="3572210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94" name="Oval 193">
              <a:extLst>
                <a:ext uri="{FF2B5EF4-FFF2-40B4-BE49-F238E27FC236}">
                  <a16:creationId xmlns:a16="http://schemas.microsoft.com/office/drawing/2014/main" xmlns="" id="{A213BA62-BD96-410F-BEB8-494E12A995E2}"/>
                </a:ext>
              </a:extLst>
            </p:cNvPr>
            <p:cNvSpPr/>
            <p:nvPr/>
          </p:nvSpPr>
          <p:spPr>
            <a:xfrm>
              <a:off x="2791261" y="3510752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95" name="Oval 194">
              <a:extLst>
                <a:ext uri="{FF2B5EF4-FFF2-40B4-BE49-F238E27FC236}">
                  <a16:creationId xmlns:a16="http://schemas.microsoft.com/office/drawing/2014/main" xmlns="" id="{F3ECCF25-92B8-4788-93B1-9A38002F5A06}"/>
                </a:ext>
              </a:extLst>
            </p:cNvPr>
            <p:cNvSpPr/>
            <p:nvPr/>
          </p:nvSpPr>
          <p:spPr>
            <a:xfrm>
              <a:off x="2855177" y="3513582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96" name="Oval 195">
              <a:extLst>
                <a:ext uri="{FF2B5EF4-FFF2-40B4-BE49-F238E27FC236}">
                  <a16:creationId xmlns:a16="http://schemas.microsoft.com/office/drawing/2014/main" xmlns="" id="{3BDE942E-A336-4764-A300-ECAAA45854F2}"/>
                </a:ext>
              </a:extLst>
            </p:cNvPr>
            <p:cNvSpPr/>
            <p:nvPr/>
          </p:nvSpPr>
          <p:spPr>
            <a:xfrm>
              <a:off x="3027421" y="4686055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97" name="Oval 196">
              <a:extLst>
                <a:ext uri="{FF2B5EF4-FFF2-40B4-BE49-F238E27FC236}">
                  <a16:creationId xmlns:a16="http://schemas.microsoft.com/office/drawing/2014/main" xmlns="" id="{60298720-75EE-4447-A723-B68E62AD23E0}"/>
                </a:ext>
              </a:extLst>
            </p:cNvPr>
            <p:cNvSpPr/>
            <p:nvPr/>
          </p:nvSpPr>
          <p:spPr>
            <a:xfrm>
              <a:off x="3027421" y="461219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98" name="Oval 197">
              <a:extLst>
                <a:ext uri="{FF2B5EF4-FFF2-40B4-BE49-F238E27FC236}">
                  <a16:creationId xmlns:a16="http://schemas.microsoft.com/office/drawing/2014/main" xmlns="" id="{307E9D78-6716-434C-B462-94BCE4569D67}"/>
                </a:ext>
              </a:extLst>
            </p:cNvPr>
            <p:cNvSpPr/>
            <p:nvPr/>
          </p:nvSpPr>
          <p:spPr>
            <a:xfrm>
              <a:off x="3063610" y="4573359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199" name="Oval 198">
              <a:extLst>
                <a:ext uri="{FF2B5EF4-FFF2-40B4-BE49-F238E27FC236}">
                  <a16:creationId xmlns:a16="http://schemas.microsoft.com/office/drawing/2014/main" xmlns="" id="{B4E635B9-BB88-46DF-BAF3-1E2778B26957}"/>
                </a:ext>
              </a:extLst>
            </p:cNvPr>
            <p:cNvSpPr/>
            <p:nvPr/>
          </p:nvSpPr>
          <p:spPr>
            <a:xfrm>
              <a:off x="4380607" y="4715501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0" name="Oval 199">
              <a:extLst>
                <a:ext uri="{FF2B5EF4-FFF2-40B4-BE49-F238E27FC236}">
                  <a16:creationId xmlns:a16="http://schemas.microsoft.com/office/drawing/2014/main" xmlns="" id="{2BB40BDB-364E-4EEC-82CE-9834C26C1082}"/>
                </a:ext>
              </a:extLst>
            </p:cNvPr>
            <p:cNvSpPr/>
            <p:nvPr/>
          </p:nvSpPr>
          <p:spPr>
            <a:xfrm>
              <a:off x="4296437" y="4659153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1" name="Oval 200">
              <a:extLst>
                <a:ext uri="{FF2B5EF4-FFF2-40B4-BE49-F238E27FC236}">
                  <a16:creationId xmlns:a16="http://schemas.microsoft.com/office/drawing/2014/main" xmlns="" id="{4B086827-7522-43F2-94C6-CEDE0E81CA1C}"/>
                </a:ext>
              </a:extLst>
            </p:cNvPr>
            <p:cNvSpPr/>
            <p:nvPr/>
          </p:nvSpPr>
          <p:spPr>
            <a:xfrm>
              <a:off x="4354439" y="4696718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2" name="Oval 201">
              <a:extLst>
                <a:ext uri="{FF2B5EF4-FFF2-40B4-BE49-F238E27FC236}">
                  <a16:creationId xmlns:a16="http://schemas.microsoft.com/office/drawing/2014/main" xmlns="" id="{E7652418-39A9-42D7-88EC-80A24999B3B5}"/>
                </a:ext>
              </a:extLst>
            </p:cNvPr>
            <p:cNvSpPr/>
            <p:nvPr/>
          </p:nvSpPr>
          <p:spPr>
            <a:xfrm>
              <a:off x="4642391" y="4811174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3" name="Oval 202">
              <a:extLst>
                <a:ext uri="{FF2B5EF4-FFF2-40B4-BE49-F238E27FC236}">
                  <a16:creationId xmlns:a16="http://schemas.microsoft.com/office/drawing/2014/main" xmlns="" id="{02AC08EE-7017-4554-993A-6E2E896FEF9A}"/>
                </a:ext>
              </a:extLst>
            </p:cNvPr>
            <p:cNvSpPr/>
            <p:nvPr/>
          </p:nvSpPr>
          <p:spPr>
            <a:xfrm>
              <a:off x="3651688" y="4030520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4" name="Oval 203">
              <a:extLst>
                <a:ext uri="{FF2B5EF4-FFF2-40B4-BE49-F238E27FC236}">
                  <a16:creationId xmlns:a16="http://schemas.microsoft.com/office/drawing/2014/main" xmlns="" id="{20C7CB26-043E-4364-A6AE-3E7866B80BE3}"/>
                </a:ext>
              </a:extLst>
            </p:cNvPr>
            <p:cNvSpPr/>
            <p:nvPr/>
          </p:nvSpPr>
          <p:spPr>
            <a:xfrm>
              <a:off x="3612351" y="4061000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5" name="Oval 204">
              <a:extLst>
                <a:ext uri="{FF2B5EF4-FFF2-40B4-BE49-F238E27FC236}">
                  <a16:creationId xmlns:a16="http://schemas.microsoft.com/office/drawing/2014/main" xmlns="" id="{34734FD6-9F26-43A4-8EFC-EDA45088CA84}"/>
                </a:ext>
              </a:extLst>
            </p:cNvPr>
            <p:cNvSpPr/>
            <p:nvPr/>
          </p:nvSpPr>
          <p:spPr>
            <a:xfrm>
              <a:off x="3565394" y="398058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6" name="Oval 205">
              <a:extLst>
                <a:ext uri="{FF2B5EF4-FFF2-40B4-BE49-F238E27FC236}">
                  <a16:creationId xmlns:a16="http://schemas.microsoft.com/office/drawing/2014/main" xmlns="" id="{C5001C14-6CF3-43D4-A0B2-915DC7FD1F13}"/>
                </a:ext>
              </a:extLst>
            </p:cNvPr>
            <p:cNvSpPr/>
            <p:nvPr/>
          </p:nvSpPr>
          <p:spPr>
            <a:xfrm>
              <a:off x="4257450" y="3735467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7" name="Oval 206">
              <a:extLst>
                <a:ext uri="{FF2B5EF4-FFF2-40B4-BE49-F238E27FC236}">
                  <a16:creationId xmlns:a16="http://schemas.microsoft.com/office/drawing/2014/main" xmlns="" id="{C1DB0B90-9179-41AF-A86C-6B08DF27305F}"/>
                </a:ext>
              </a:extLst>
            </p:cNvPr>
            <p:cNvSpPr/>
            <p:nvPr/>
          </p:nvSpPr>
          <p:spPr>
            <a:xfrm>
              <a:off x="4050477" y="3848562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8" name="Oval 207">
              <a:extLst>
                <a:ext uri="{FF2B5EF4-FFF2-40B4-BE49-F238E27FC236}">
                  <a16:creationId xmlns:a16="http://schemas.microsoft.com/office/drawing/2014/main" xmlns="" id="{1FA56397-39ED-4E02-9B82-3316AF2F3701}"/>
                </a:ext>
              </a:extLst>
            </p:cNvPr>
            <p:cNvSpPr/>
            <p:nvPr/>
          </p:nvSpPr>
          <p:spPr>
            <a:xfrm>
              <a:off x="4041917" y="3898453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09" name="Oval 208">
              <a:extLst>
                <a:ext uri="{FF2B5EF4-FFF2-40B4-BE49-F238E27FC236}">
                  <a16:creationId xmlns:a16="http://schemas.microsoft.com/office/drawing/2014/main" xmlns="" id="{028061C9-1997-4095-9A7A-8EA0F0C43DAB}"/>
                </a:ext>
              </a:extLst>
            </p:cNvPr>
            <p:cNvSpPr/>
            <p:nvPr/>
          </p:nvSpPr>
          <p:spPr>
            <a:xfrm>
              <a:off x="3974255" y="3737627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xmlns="" id="{604C6E4C-E418-4EBC-B082-62444175B26F}"/>
                </a:ext>
              </a:extLst>
            </p:cNvPr>
            <p:cNvSpPr/>
            <p:nvPr/>
          </p:nvSpPr>
          <p:spPr>
            <a:xfrm>
              <a:off x="3992228" y="3775192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xmlns="" id="{5F855233-3C06-4408-BA69-BB5A93F72395}"/>
                </a:ext>
              </a:extLst>
            </p:cNvPr>
            <p:cNvSpPr/>
            <p:nvPr/>
          </p:nvSpPr>
          <p:spPr>
            <a:xfrm>
              <a:off x="3992228" y="3616231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2" name="Oval 211">
              <a:extLst>
                <a:ext uri="{FF2B5EF4-FFF2-40B4-BE49-F238E27FC236}">
                  <a16:creationId xmlns:a16="http://schemas.microsoft.com/office/drawing/2014/main" xmlns="" id="{4FDC709B-5E72-45AD-B903-EA4F4780D01F}"/>
                </a:ext>
              </a:extLst>
            </p:cNvPr>
            <p:cNvSpPr/>
            <p:nvPr/>
          </p:nvSpPr>
          <p:spPr>
            <a:xfrm>
              <a:off x="4003157" y="3691362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xmlns="" id="{98E12F96-C603-4E98-81F8-F204EDD1F0DA}"/>
                </a:ext>
              </a:extLst>
            </p:cNvPr>
            <p:cNvSpPr/>
            <p:nvPr/>
          </p:nvSpPr>
          <p:spPr>
            <a:xfrm>
              <a:off x="4050114" y="3691362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xmlns="" id="{43A75830-7CF1-4CB7-8671-EB704FF44C83}"/>
                </a:ext>
              </a:extLst>
            </p:cNvPr>
            <p:cNvSpPr/>
            <p:nvPr/>
          </p:nvSpPr>
          <p:spPr>
            <a:xfrm>
              <a:off x="4077882" y="3681971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5" name="Oval 214">
              <a:extLst>
                <a:ext uri="{FF2B5EF4-FFF2-40B4-BE49-F238E27FC236}">
                  <a16:creationId xmlns:a16="http://schemas.microsoft.com/office/drawing/2014/main" xmlns="" id="{6D3AF8BA-E828-4F08-82EF-1406F528FD25}"/>
                </a:ext>
              </a:extLst>
            </p:cNvPr>
            <p:cNvSpPr/>
            <p:nvPr/>
          </p:nvSpPr>
          <p:spPr>
            <a:xfrm>
              <a:off x="3871923" y="382142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6" name="Oval 215">
              <a:extLst>
                <a:ext uri="{FF2B5EF4-FFF2-40B4-BE49-F238E27FC236}">
                  <a16:creationId xmlns:a16="http://schemas.microsoft.com/office/drawing/2014/main" xmlns="" id="{F3908BE8-66DA-4423-B6AC-8126D327162F}"/>
                </a:ext>
              </a:extLst>
            </p:cNvPr>
            <p:cNvSpPr/>
            <p:nvPr/>
          </p:nvSpPr>
          <p:spPr>
            <a:xfrm>
              <a:off x="2925612" y="3501775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7" name="Oval 216">
              <a:extLst>
                <a:ext uri="{FF2B5EF4-FFF2-40B4-BE49-F238E27FC236}">
                  <a16:creationId xmlns:a16="http://schemas.microsoft.com/office/drawing/2014/main" xmlns="" id="{0A143267-59CA-4DBB-BC71-FC0D3A33BA07}"/>
                </a:ext>
              </a:extLst>
            </p:cNvPr>
            <p:cNvSpPr/>
            <p:nvPr/>
          </p:nvSpPr>
          <p:spPr>
            <a:xfrm>
              <a:off x="2706859" y="3471839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8" name="Oval 217">
              <a:extLst>
                <a:ext uri="{FF2B5EF4-FFF2-40B4-BE49-F238E27FC236}">
                  <a16:creationId xmlns:a16="http://schemas.microsoft.com/office/drawing/2014/main" xmlns="" id="{3A9162D3-94D2-489C-BB4C-24CB2AA53702}"/>
                </a:ext>
              </a:extLst>
            </p:cNvPr>
            <p:cNvSpPr/>
            <p:nvPr/>
          </p:nvSpPr>
          <p:spPr>
            <a:xfrm>
              <a:off x="2838218" y="3528158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19" name="Oval 218">
              <a:extLst>
                <a:ext uri="{FF2B5EF4-FFF2-40B4-BE49-F238E27FC236}">
                  <a16:creationId xmlns:a16="http://schemas.microsoft.com/office/drawing/2014/main" xmlns="" id="{DA006AEF-5E43-4837-AFC2-CBA54E1A6CF6}"/>
                </a:ext>
              </a:extLst>
            </p:cNvPr>
            <p:cNvSpPr/>
            <p:nvPr/>
          </p:nvSpPr>
          <p:spPr>
            <a:xfrm>
              <a:off x="2706859" y="3499013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20" name="Oval 219">
              <a:extLst>
                <a:ext uri="{FF2B5EF4-FFF2-40B4-BE49-F238E27FC236}">
                  <a16:creationId xmlns:a16="http://schemas.microsoft.com/office/drawing/2014/main" xmlns="" id="{5D8A916D-423F-4F95-8AF0-B3B717A7A410}"/>
                </a:ext>
              </a:extLst>
            </p:cNvPr>
            <p:cNvSpPr/>
            <p:nvPr/>
          </p:nvSpPr>
          <p:spPr>
            <a:xfrm>
              <a:off x="2744304" y="3715985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21" name="Oval 220">
              <a:extLst>
                <a:ext uri="{FF2B5EF4-FFF2-40B4-BE49-F238E27FC236}">
                  <a16:creationId xmlns:a16="http://schemas.microsoft.com/office/drawing/2014/main" xmlns="" id="{DF15A258-9AD9-4C5D-AF93-9459E5CF4058}"/>
                </a:ext>
              </a:extLst>
            </p:cNvPr>
            <p:cNvSpPr/>
            <p:nvPr/>
          </p:nvSpPr>
          <p:spPr>
            <a:xfrm>
              <a:off x="2827288" y="3538445"/>
              <a:ext cx="93914" cy="103305"/>
            </a:xfrm>
            <a:prstGeom prst="ellipse">
              <a:avLst/>
            </a:prstGeom>
            <a:solidFill>
              <a:srgbClr val="B95946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2" name="Oval 221">
              <a:extLst>
                <a:ext uri="{FF2B5EF4-FFF2-40B4-BE49-F238E27FC236}">
                  <a16:creationId xmlns:a16="http://schemas.microsoft.com/office/drawing/2014/main" xmlns="" id="{147351B8-B778-4BA5-8A4F-14AAF55648F8}"/>
                </a:ext>
              </a:extLst>
            </p:cNvPr>
            <p:cNvSpPr/>
            <p:nvPr/>
          </p:nvSpPr>
          <p:spPr>
            <a:xfrm>
              <a:off x="3105544" y="3572210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23" name="Oval 222">
              <a:extLst>
                <a:ext uri="{FF2B5EF4-FFF2-40B4-BE49-F238E27FC236}">
                  <a16:creationId xmlns:a16="http://schemas.microsoft.com/office/drawing/2014/main" xmlns="" id="{E383F700-A199-4B64-83D1-595B48DAA3BC}"/>
                </a:ext>
              </a:extLst>
            </p:cNvPr>
            <p:cNvSpPr/>
            <p:nvPr/>
          </p:nvSpPr>
          <p:spPr>
            <a:xfrm>
              <a:off x="3019045" y="354403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24" name="Oval 223">
              <a:extLst>
                <a:ext uri="{FF2B5EF4-FFF2-40B4-BE49-F238E27FC236}">
                  <a16:creationId xmlns:a16="http://schemas.microsoft.com/office/drawing/2014/main" xmlns="" id="{39FF384F-D339-428C-BDC4-036A95F73A94}"/>
                </a:ext>
              </a:extLst>
            </p:cNvPr>
            <p:cNvSpPr/>
            <p:nvPr/>
          </p:nvSpPr>
          <p:spPr>
            <a:xfrm>
              <a:off x="3000132" y="3544036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25" name="Oval 224">
              <a:extLst>
                <a:ext uri="{FF2B5EF4-FFF2-40B4-BE49-F238E27FC236}">
                  <a16:creationId xmlns:a16="http://schemas.microsoft.com/office/drawing/2014/main" xmlns="" id="{9DB942D6-7BDA-4278-BC10-9C29823F12B2}"/>
                </a:ext>
              </a:extLst>
            </p:cNvPr>
            <p:cNvSpPr/>
            <p:nvPr/>
          </p:nvSpPr>
          <p:spPr>
            <a:xfrm>
              <a:off x="2866984" y="3755823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227" name="Oval 226">
              <a:extLst>
                <a:ext uri="{FF2B5EF4-FFF2-40B4-BE49-F238E27FC236}">
                  <a16:creationId xmlns:a16="http://schemas.microsoft.com/office/drawing/2014/main" xmlns="" id="{EB3E9387-F3B8-4E3A-86D6-A32C29BCCE8A}"/>
                </a:ext>
              </a:extLst>
            </p:cNvPr>
            <p:cNvSpPr/>
            <p:nvPr/>
          </p:nvSpPr>
          <p:spPr>
            <a:xfrm>
              <a:off x="2754828" y="3585709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xmlns="" id="{4A96F12F-833F-4F5B-8A7D-FBB6574A38B8}"/>
                </a:ext>
              </a:extLst>
            </p:cNvPr>
            <p:cNvSpPr/>
            <p:nvPr/>
          </p:nvSpPr>
          <p:spPr>
            <a:xfrm>
              <a:off x="1923785" y="3636446"/>
              <a:ext cx="93914" cy="103305"/>
            </a:xfrm>
            <a:prstGeom prst="ellipse">
              <a:avLst/>
            </a:prstGeom>
            <a:solidFill>
              <a:srgbClr val="B95946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>
              <a:extLst>
                <a:ext uri="{FF2B5EF4-FFF2-40B4-BE49-F238E27FC236}">
                  <a16:creationId xmlns:a16="http://schemas.microsoft.com/office/drawing/2014/main" xmlns="" id="{B124753A-5357-406C-85F0-3EB7158E5519}"/>
                </a:ext>
              </a:extLst>
            </p:cNvPr>
            <p:cNvSpPr/>
            <p:nvPr/>
          </p:nvSpPr>
          <p:spPr>
            <a:xfrm>
              <a:off x="2714306" y="3548130"/>
              <a:ext cx="93914" cy="103305"/>
            </a:xfrm>
            <a:prstGeom prst="ellipse">
              <a:avLst/>
            </a:prstGeom>
            <a:solidFill>
              <a:srgbClr val="B95946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6" name="Oval 225">
              <a:extLst>
                <a:ext uri="{FF2B5EF4-FFF2-40B4-BE49-F238E27FC236}">
                  <a16:creationId xmlns:a16="http://schemas.microsoft.com/office/drawing/2014/main" xmlns="" id="{EEED024E-74A7-4A9D-9A52-A2035F5F7590}"/>
                </a:ext>
              </a:extLst>
            </p:cNvPr>
            <p:cNvSpPr/>
            <p:nvPr/>
          </p:nvSpPr>
          <p:spPr>
            <a:xfrm>
              <a:off x="2679518" y="3585505"/>
              <a:ext cx="93914" cy="103305"/>
            </a:xfrm>
            <a:prstGeom prst="ellipse">
              <a:avLst/>
            </a:prstGeom>
            <a:solidFill>
              <a:srgbClr val="43807A">
                <a:alpha val="5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b="1"/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xmlns="" id="{230052CD-9EB2-4E48-A2A5-65FEB1DA02C6}"/>
              </a:ext>
            </a:extLst>
          </p:cNvPr>
          <p:cNvSpPr txBox="1"/>
          <p:nvPr/>
        </p:nvSpPr>
        <p:spPr>
          <a:xfrm>
            <a:off x="7677820" y="1655943"/>
            <a:ext cx="4097833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b-NO" sz="1400" i="1" dirty="0">
                <a:solidFill>
                  <a:schemeClr val="accent1"/>
                </a:solidFill>
              </a:rPr>
              <a:t>«KPS er glad for muligheten til å utvikle Rolling videre så virksomheten kan nå sitt fulle potensial, og vi er også klare for å stille med de ressursene som kreves for en omstilling av virksomheten» </a:t>
            </a:r>
            <a:br>
              <a:rPr lang="nb-NO" sz="1400" i="1" dirty="0">
                <a:solidFill>
                  <a:schemeClr val="accent1"/>
                </a:solidFill>
              </a:rPr>
            </a:br>
            <a:r>
              <a:rPr lang="nb-NO" sz="600" i="1" dirty="0">
                <a:solidFill>
                  <a:schemeClr val="accent1"/>
                </a:solidFill>
              </a:rPr>
              <a:t> </a:t>
            </a:r>
            <a:r>
              <a:rPr lang="nb-NO" sz="800" i="1" dirty="0">
                <a:solidFill>
                  <a:schemeClr val="accent1"/>
                </a:solidFill>
              </a:rPr>
              <a:t/>
            </a:r>
            <a:br>
              <a:rPr lang="nb-NO" sz="800" i="1" dirty="0">
                <a:solidFill>
                  <a:schemeClr val="accent1"/>
                </a:solidFill>
              </a:rPr>
            </a:br>
            <a:r>
              <a:rPr lang="nb-NO" i="1" dirty="0">
                <a:solidFill>
                  <a:schemeClr val="accent1"/>
                </a:solidFill>
              </a:rPr>
              <a:t>- </a:t>
            </a:r>
            <a:r>
              <a:rPr lang="nb-NO" sz="1100" i="1" dirty="0">
                <a:solidFill>
                  <a:schemeClr val="accent1"/>
                </a:solidFill>
              </a:rPr>
              <a:t>Michael </a:t>
            </a:r>
            <a:r>
              <a:rPr lang="nb-NO" sz="1100" i="1" dirty="0" err="1">
                <a:solidFill>
                  <a:schemeClr val="accent1"/>
                </a:solidFill>
              </a:rPr>
              <a:t>Psaros</a:t>
            </a:r>
            <a:r>
              <a:rPr lang="nb-NO" sz="1100" i="1" dirty="0">
                <a:solidFill>
                  <a:schemeClr val="accent1"/>
                </a:solidFill>
              </a:rPr>
              <a:t>, en av KPS’ grunnleggere og ledende partnere </a:t>
            </a:r>
          </a:p>
        </p:txBody>
      </p:sp>
      <p:sp>
        <p:nvSpPr>
          <p:cNvPr id="89" name="Content Placeholder 1">
            <a:extLst>
              <a:ext uri="{FF2B5EF4-FFF2-40B4-BE49-F238E27FC236}">
                <a16:creationId xmlns:a16="http://schemas.microsoft.com/office/drawing/2014/main" xmlns="" id="{065F2A38-1275-4C17-A984-C998DA0324D8}"/>
              </a:ext>
            </a:extLst>
          </p:cNvPr>
          <p:cNvSpPr txBox="1">
            <a:spLocks/>
          </p:cNvSpPr>
          <p:nvPr/>
        </p:nvSpPr>
        <p:spPr>
          <a:xfrm>
            <a:off x="7677820" y="3143894"/>
            <a:ext cx="4097832" cy="305468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182563" indent="-182563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 marL="358775" lvl="1" indent="-177800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>
                <a:solidFill>
                  <a:schemeClr val="tx2"/>
                </a:solidFill>
              </a:defRPr>
            </a:lvl2pPr>
            <a:lvl3pPr marL="541338" indent="-182563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7550" indent="-176213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000">
                <a:solidFill>
                  <a:schemeClr val="tx2"/>
                </a:solidFill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buNone/>
            </a:pPr>
            <a:r>
              <a:rPr lang="nb-NO" sz="1100" b="1" dirty="0"/>
              <a:t>Om KPS</a:t>
            </a:r>
          </a:p>
          <a:p>
            <a:pPr marL="182245" indent="-182245"/>
            <a:r>
              <a:rPr lang="nb-NO" sz="1100" dirty="0"/>
              <a:t>Kan vise til gode resultater gjennom eierskap i produksjonsselskaper</a:t>
            </a:r>
          </a:p>
          <a:p>
            <a:pPr marL="182245" indent="-182245"/>
            <a:r>
              <a:rPr lang="nb-NO" sz="1100" dirty="0"/>
              <a:t>God forståelse av produksjonsprosesser</a:t>
            </a:r>
          </a:p>
          <a:p>
            <a:pPr marL="182245" indent="-182245"/>
            <a:r>
              <a:rPr lang="nb-NO" sz="1100" dirty="0"/>
              <a:t>Opptatt av å skape og opprettholde global produksjonsvirksomhet i verdensklasse </a:t>
            </a:r>
          </a:p>
          <a:p>
            <a:pPr marL="182245" indent="-182245"/>
            <a:r>
              <a:rPr lang="nb-NO" sz="1100" dirty="0"/>
              <a:t>Konstruktiv tilnærming til alle interessegrupper, inkludert ledergrupper, ansatte, fagforeninger, kunder, leverandører og lokalsamfunn</a:t>
            </a:r>
          </a:p>
          <a:p>
            <a:pPr marL="182245" indent="-182245"/>
            <a:r>
              <a:rPr lang="nb-NO" sz="1100" dirty="0"/>
              <a:t>Har kapital til å støtte organisk vekst som involverer kapasitetsutvidelser, oppgradering av utstyr, FoU og ny produktutvikling.</a:t>
            </a:r>
          </a:p>
          <a:p>
            <a:pPr marL="182245" indent="-182245"/>
            <a:r>
              <a:rPr lang="nb-NO" sz="1100" dirty="0"/>
              <a:t>30 år sammen som team med over 80 investeringer, 6 etablerte fondfamilier hittil og forvaltning av eiendeler</a:t>
            </a:r>
            <a:r>
              <a:rPr lang="nb-NO" sz="1100" baseline="30000" dirty="0">
                <a:solidFill>
                  <a:schemeClr val="tx2"/>
                </a:solidFill>
              </a:rPr>
              <a:t>1</a:t>
            </a:r>
            <a:r>
              <a:rPr lang="nb-NO" sz="1100" dirty="0"/>
              <a:t> tilsvarende 12,3 milliarder USD. </a:t>
            </a:r>
          </a:p>
        </p:txBody>
      </p:sp>
    </p:spTree>
    <p:extLst>
      <p:ext uri="{BB962C8B-B14F-4D97-AF65-F5344CB8AC3E}">
        <p14:creationId xmlns:p14="http://schemas.microsoft.com/office/powerpoint/2010/main" val="3055941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>
            <a:extLst>
              <a:ext uri="{FF2B5EF4-FFF2-40B4-BE49-F238E27FC236}">
                <a16:creationId xmlns:a16="http://schemas.microsoft.com/office/drawing/2014/main" xmlns="" id="{1784EB22-9B51-4C54-811F-9AC45CB3FD24}"/>
              </a:ext>
            </a:extLst>
          </p:cNvPr>
          <p:cNvSpPr/>
          <p:nvPr/>
        </p:nvSpPr>
        <p:spPr>
          <a:xfrm>
            <a:off x="474320" y="5129018"/>
            <a:ext cx="5364163" cy="12500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B37DA7AA-D4A5-465A-915B-2D481C5B13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411" imgH="409" progId="TCLayout.ActiveDocument.1">
                  <p:embed/>
                </p:oleObj>
              </mc:Choice>
              <mc:Fallback>
                <p:oleObj name="think-cell Slide" r:id="rId5" imgW="411" imgH="40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B37DA7AA-D4A5-465A-915B-2D481C5B13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19E64B-E37F-4E25-AC19-19CB35570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nb-NO" sz="3600" b="0" dirty="0">
                <a:latin typeface="+mj-lt"/>
              </a:rPr>
              <a:t>Salget gjør at vi kan bygge et nytt aluminiumselskap innenfor valsevirksomhet og resirkuler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28E9FEF-4B49-4D2B-BA96-D0F7A22CD5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50157" y="2630654"/>
            <a:ext cx="4189939" cy="1929154"/>
          </a:xfrm>
        </p:spPr>
        <p:txBody>
          <a:bodyPr/>
          <a:lstStyle/>
          <a:p>
            <a:pPr marL="0" indent="0">
              <a:buNone/>
            </a:pPr>
            <a:r>
              <a:rPr lang="nb-NO" sz="1600" b="1" dirty="0">
                <a:solidFill>
                  <a:srgbClr val="32605C"/>
                </a:solidFill>
                <a:highlight>
                  <a:srgbClr val="FFFFFF"/>
                </a:highlight>
              </a:rPr>
              <a:t>Sette sikkerheten først i alt vi gjør</a:t>
            </a:r>
          </a:p>
          <a:p>
            <a:pPr marL="0" indent="0">
              <a:buNone/>
            </a:pPr>
            <a:r>
              <a:rPr lang="nb-NO" b="1" dirty="0">
                <a:solidFill>
                  <a:srgbClr val="32605C"/>
                </a:solidFill>
                <a:highlight>
                  <a:srgbClr val="FFFFFF"/>
                </a:highlight>
              </a:rPr>
              <a:t>  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nb-NO" b="1" dirty="0">
                <a:solidFill>
                  <a:srgbClr val="32605C"/>
                </a:solidFill>
                <a:highlight>
                  <a:srgbClr val="FFFFFF"/>
                </a:highlight>
              </a:rPr>
              <a:t>Full fart framover og fokus på våre Robust100-ambisjoner</a:t>
            </a:r>
          </a:p>
          <a:p>
            <a:pPr marL="0" indent="0">
              <a:buNone/>
            </a:pPr>
            <a:r>
              <a:rPr lang="nb-NO" b="1" dirty="0">
                <a:solidFill>
                  <a:srgbClr val="32605C"/>
                </a:solidFill>
                <a:highlight>
                  <a:srgbClr val="FFFFFF"/>
                </a:highlight>
              </a:rPr>
              <a:t>Bruke vår førsteklasses kompetanse til å videreutvikle virksomheten</a:t>
            </a:r>
          </a:p>
          <a:p>
            <a:pPr marL="0" indent="0">
              <a:buNone/>
            </a:pPr>
            <a:endParaRPr lang="en-US" b="1" dirty="0">
              <a:solidFill>
                <a:srgbClr val="32605C"/>
              </a:solidFill>
              <a:highlight>
                <a:srgbClr val="FFFFFF"/>
              </a:highlight>
            </a:endParaRPr>
          </a:p>
        </p:txBody>
      </p:sp>
      <p:sp>
        <p:nvSpPr>
          <p:cNvPr id="30" name="Slide Number Placeholder 4">
            <a:extLst>
              <a:ext uri="{FF2B5EF4-FFF2-40B4-BE49-F238E27FC236}">
                <a16:creationId xmlns:a16="http://schemas.microsoft.com/office/drawing/2014/main" xmlns="" id="{6324CD22-013D-4F19-8314-F14274B23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/>
              <a:t>8</a:t>
            </a:fld>
            <a:endParaRPr lang="en-GB"/>
          </a:p>
        </p:txBody>
      </p:sp>
      <p:pic>
        <p:nvPicPr>
          <p:cNvPr id="11" name="Bildplatzhalter 10" descr="Ein Bild, das Person, draußen, Mann, Anzug enthält.&#10;&#10;Automatisch generierte Beschreibung">
            <a:extLst>
              <a:ext uri="{FF2B5EF4-FFF2-40B4-BE49-F238E27FC236}">
                <a16:creationId xmlns:a16="http://schemas.microsoft.com/office/drawing/2014/main" xmlns="" id="{A223773D-4D58-4C42-95DD-15E1456A700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05" b="10905"/>
          <a:stretch>
            <a:fillRect/>
          </a:stretch>
        </p:blipFill>
        <p:spPr/>
      </p:pic>
      <p:sp>
        <p:nvSpPr>
          <p:cNvPr id="55" name="Content Placeholder 3">
            <a:extLst>
              <a:ext uri="{FF2B5EF4-FFF2-40B4-BE49-F238E27FC236}">
                <a16:creationId xmlns:a16="http://schemas.microsoft.com/office/drawing/2014/main" xmlns="" id="{46CB04CA-A645-4291-8252-043AA351F982}"/>
              </a:ext>
            </a:extLst>
          </p:cNvPr>
          <p:cNvSpPr txBox="1">
            <a:spLocks/>
          </p:cNvSpPr>
          <p:nvPr/>
        </p:nvSpPr>
        <p:spPr>
          <a:xfrm>
            <a:off x="6289125" y="2318964"/>
            <a:ext cx="5364163" cy="4176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563" marR="0" lvl="0" indent="-182563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600" b="0" i="0" u="none" strike="noStrike" kern="1200" cap="none" spc="0" normalizeH="0" baseline="0" noProof="0">
              <a:ln>
                <a:noFill/>
              </a:ln>
              <a:solidFill>
                <a:srgbClr val="444D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B2D501F8-56FA-4B63-89E2-93879F25EB61}"/>
              </a:ext>
            </a:extLst>
          </p:cNvPr>
          <p:cNvSpPr/>
          <p:nvPr/>
        </p:nvSpPr>
        <p:spPr>
          <a:xfrm>
            <a:off x="478848" y="2579808"/>
            <a:ext cx="360000" cy="36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+mn-ea"/>
                <a:cs typeface="Arial"/>
              </a:rPr>
              <a:t>1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xmlns="" id="{A22C4A7D-6857-45D6-A792-0C791543DD92}"/>
              </a:ext>
            </a:extLst>
          </p:cNvPr>
          <p:cNvSpPr/>
          <p:nvPr/>
        </p:nvSpPr>
        <p:spPr>
          <a:xfrm>
            <a:off x="476584" y="3300968"/>
            <a:ext cx="360000" cy="36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xmlns="" id="{03E7AB3A-1B1D-41E8-9065-1ACEF481832D}"/>
              </a:ext>
            </a:extLst>
          </p:cNvPr>
          <p:cNvSpPr txBox="1">
            <a:spLocks/>
          </p:cNvSpPr>
          <p:nvPr/>
        </p:nvSpPr>
        <p:spPr>
          <a:xfrm flipV="1">
            <a:off x="427043" y="2485964"/>
            <a:ext cx="144586" cy="4571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2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87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000" b="0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+mn-ea"/>
                <a:cs typeface="+mn-cs"/>
              </a:rPr>
              <a:t>1</a:t>
            </a:r>
            <a:r>
              <a:rPr kumimoji="0" lang="nb-NO" sz="2200" b="0" i="0" u="none" strike="noStrike" cap="none" normalizeH="0" baseline="0" noProof="0">
                <a:ln>
                  <a:noFill/>
                </a:ln>
                <a:solidFill>
                  <a:srgbClr val="8C8C8C"/>
                </a:solidFill>
                <a:uLnTx/>
                <a:uFillTx/>
                <a:latin typeface="Arial"/>
                <a:ea typeface="+mn-ea"/>
                <a:cs typeface="+mn-cs"/>
              </a:rPr>
              <a:t> 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xmlns="" id="{EA441AB6-FEE3-4460-9D9E-5508DE3F29AF}"/>
              </a:ext>
            </a:extLst>
          </p:cNvPr>
          <p:cNvSpPr txBox="1">
            <a:spLocks/>
          </p:cNvSpPr>
          <p:nvPr/>
        </p:nvSpPr>
        <p:spPr>
          <a:xfrm>
            <a:off x="586848" y="3340689"/>
            <a:ext cx="252000" cy="3245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2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87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0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AE7C966F-DE96-4B76-8831-8276B9DA7B3E}"/>
              </a:ext>
            </a:extLst>
          </p:cNvPr>
          <p:cNvSpPr/>
          <p:nvPr/>
        </p:nvSpPr>
        <p:spPr>
          <a:xfrm>
            <a:off x="474320" y="3990785"/>
            <a:ext cx="360000" cy="36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1" name="Text Placeholder 9">
            <a:extLst>
              <a:ext uri="{FF2B5EF4-FFF2-40B4-BE49-F238E27FC236}">
                <a16:creationId xmlns:a16="http://schemas.microsoft.com/office/drawing/2014/main" xmlns="" id="{49330B1F-0A61-43A7-981F-1FD744E3AD05}"/>
              </a:ext>
            </a:extLst>
          </p:cNvPr>
          <p:cNvSpPr txBox="1">
            <a:spLocks/>
          </p:cNvSpPr>
          <p:nvPr/>
        </p:nvSpPr>
        <p:spPr>
          <a:xfrm>
            <a:off x="584584" y="4030506"/>
            <a:ext cx="252000" cy="3245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2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87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sz="2000" b="1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xmlns="" id="{913B51B7-29D6-41CF-A511-1118C64AEB27}"/>
              </a:ext>
            </a:extLst>
          </p:cNvPr>
          <p:cNvSpPr txBox="1">
            <a:spLocks/>
          </p:cNvSpPr>
          <p:nvPr/>
        </p:nvSpPr>
        <p:spPr>
          <a:xfrm>
            <a:off x="586598" y="4394445"/>
            <a:ext cx="252000" cy="3245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None/>
              <a:defRPr sz="22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35877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4133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None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2000" b="1" i="0" u="none" strike="noStrike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xmlns="" id="{2BABE86D-79E9-45E8-B71E-838928E315D9}"/>
              </a:ext>
            </a:extLst>
          </p:cNvPr>
          <p:cNvSpPr txBox="1"/>
          <p:nvPr/>
        </p:nvSpPr>
        <p:spPr>
          <a:xfrm>
            <a:off x="548072" y="5206661"/>
            <a:ext cx="5241763" cy="112672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nb-NO" sz="1400" i="1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«Vi skal bygge et nytt selskap for valsing og resirkulering av aluminium. Dette nye kapittelet vil gi oss mange muligheter til å forme framtiden vår. Dette er en stor dag for alle interessegrupper i Rolling-virksomheten, særlig for kundene og medarbeiderne våre.»  [Einar Glomnes, konserndirektør, Rolling]</a:t>
            </a:r>
            <a:r>
              <a:rPr lang="nb-NO" dirty="0">
                <a:solidFill>
                  <a:schemeClr val="accent2">
                    <a:lumMod val="20000"/>
                    <a:lumOff val="80000"/>
                  </a:schemeClr>
                </a:solidFill>
              </a:rPr>
              <a:t> 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8DA776F8-469A-47FC-ACBE-FDE9697E2A7E}"/>
              </a:ext>
            </a:extLst>
          </p:cNvPr>
          <p:cNvSpPr/>
          <p:nvPr/>
        </p:nvSpPr>
        <p:spPr>
          <a:xfrm>
            <a:off x="6248058" y="6217905"/>
            <a:ext cx="6039192" cy="414669"/>
          </a:xfrm>
          <a:prstGeom prst="rect">
            <a:avLst/>
          </a:prstGeom>
          <a:solidFill>
            <a:schemeClr val="bg2">
              <a:lumMod val="20000"/>
              <a:lumOff val="80000"/>
              <a:alpha val="6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accent1"/>
                </a:solidFill>
              </a:rPr>
              <a:t>Einar blir administrerende direktør i det nye selskapet</a:t>
            </a:r>
          </a:p>
        </p:txBody>
      </p:sp>
    </p:spTree>
    <p:extLst>
      <p:ext uri="{BB962C8B-B14F-4D97-AF65-F5344CB8AC3E}">
        <p14:creationId xmlns:p14="http://schemas.microsoft.com/office/powerpoint/2010/main" val="21619257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xmlns="" id="{99047837-28F2-4A25-8917-6FD1CD145F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xmlns="" id="{99047837-28F2-4A25-8917-6FD1CD145F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0C6C5E00-87DE-4083-BB96-00AD1A6C2A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anchor="ctr"/>
          <a:lstStyle/>
          <a:p>
            <a:r>
              <a:rPr lang="nb-NO" sz="1200"/>
              <a:t>Valsede Produkter 2030</a:t>
            </a:r>
          </a:p>
          <a:p>
            <a:r>
              <a:rPr lang="nb-NO" sz="1800" b="1"/>
              <a:t>Vi vil være en lønnsom og ledende aktør som er benchmark på bærekraft i bransjen </a:t>
            </a:r>
          </a:p>
          <a:p>
            <a:r>
              <a:rPr lang="nb-NO"/>
              <a:t>Vi vil levere lavkarbonprodukter med høy kvalitet basert på førsteklasses valse- og resirkuleringskompetanse</a:t>
            </a:r>
          </a:p>
        </p:txBody>
      </p:sp>
      <p:pic>
        <p:nvPicPr>
          <p:cNvPr id="9" name="Grafik 8" descr="Ein Bild, das draußen, Berg, Gras, Hügel enthält.&#10;&#10;Automatisch generierte Beschreibung">
            <a:extLst>
              <a:ext uri="{FF2B5EF4-FFF2-40B4-BE49-F238E27FC236}">
                <a16:creationId xmlns:a16="http://schemas.microsoft.com/office/drawing/2014/main" xmlns="" id="{FA88739F-61C4-4B2F-AFA7-E5DC2DDB79A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356" r="33177"/>
          <a:stretch/>
        </p:blipFill>
        <p:spPr>
          <a:xfrm>
            <a:off x="6021790" y="2011679"/>
            <a:ext cx="3114260" cy="484632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1" name="Grafik 10" descr="Ein Bild, das Tisch, groß, Gruppe, viele enthält.&#10;&#10;Automatisch generierte Beschreibung">
            <a:extLst>
              <a:ext uri="{FF2B5EF4-FFF2-40B4-BE49-F238E27FC236}">
                <a16:creationId xmlns:a16="http://schemas.microsoft.com/office/drawing/2014/main" xmlns="" id="{AA529020-5413-4F61-BCAE-EF179B7A9BED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r="59227"/>
          <a:stretch/>
        </p:blipFill>
        <p:spPr>
          <a:xfrm>
            <a:off x="0" y="2011680"/>
            <a:ext cx="2965838" cy="484632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4" name="Grafik 13" descr="Ein Bild, das Wasser, Boot, draußen, See enthält.&#10;&#10;Automatisch generierte Beschreibung">
            <a:extLst>
              <a:ext uri="{FF2B5EF4-FFF2-40B4-BE49-F238E27FC236}">
                <a16:creationId xmlns:a16="http://schemas.microsoft.com/office/drawing/2014/main" xmlns="" id="{A61E447C-F823-4D1B-ADF6-0386F8915C6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85" r="39776"/>
          <a:stretch/>
        </p:blipFill>
        <p:spPr>
          <a:xfrm>
            <a:off x="2965838" y="2011679"/>
            <a:ext cx="3055951" cy="484632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4" name="Picture Placeholder 7">
            <a:extLst>
              <a:ext uri="{FF2B5EF4-FFF2-40B4-BE49-F238E27FC236}">
                <a16:creationId xmlns:a16="http://schemas.microsoft.com/office/drawing/2014/main" xmlns="" id="{777A538B-ACA5-4A46-83B1-32E6FB852C47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055"/>
          <a:stretch/>
        </p:blipFill>
        <p:spPr>
          <a:xfrm>
            <a:off x="9136049" y="2011679"/>
            <a:ext cx="3055951" cy="4846320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xmlns="" id="{503248C0-CC9E-43B1-A8EF-FE18C98730AC}"/>
              </a:ext>
            </a:extLst>
          </p:cNvPr>
          <p:cNvSpPr txBox="1">
            <a:spLocks/>
          </p:cNvSpPr>
          <p:nvPr/>
        </p:nvSpPr>
        <p:spPr>
          <a:xfrm>
            <a:off x="479424" y="421419"/>
            <a:ext cx="11233151" cy="1065475"/>
          </a:xfrm>
          <a:prstGeom prst="rect">
            <a:avLst/>
          </a:prstGeom>
        </p:spPr>
        <p:txBody>
          <a:bodyPr anchor="ctr"/>
          <a:lstStyle>
            <a:lvl1pPr marL="182563" indent="-182563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8775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41338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7550" indent="-1762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Tx/>
              <a:buFont typeface="Arial" panose="020B0604020202020204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b-NO" sz="1200"/>
              <a:t>Rolling 2030</a:t>
            </a:r>
          </a:p>
          <a:p>
            <a:pPr marL="0" indent="0">
              <a:buNone/>
            </a:pPr>
            <a:r>
              <a:rPr lang="nb-NO" sz="1800" b="1"/>
              <a:t>Vi vil være en lønnsom og ledende aktør som er benchmark på bærekraft i bransjen </a:t>
            </a:r>
          </a:p>
          <a:p>
            <a:pPr marL="0" indent="0">
              <a:buNone/>
            </a:pPr>
            <a:r>
              <a:rPr lang="nb-NO"/>
              <a:t>Vi vil levere lavkarbonprodukter med høy kvalitet basert på førsteklasses valse- og resirkuleringskompetanse</a:t>
            </a:r>
          </a:p>
        </p:txBody>
      </p:sp>
    </p:spTree>
    <p:extLst>
      <p:ext uri="{BB962C8B-B14F-4D97-AF65-F5344CB8AC3E}">
        <p14:creationId xmlns:p14="http://schemas.microsoft.com/office/powerpoint/2010/main" val="2747037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Gn4iR8T9y2mzRhD1qlS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4oSD4ESSuXdsxyDFGO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vcxBHYCNFQXiH10YU1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Gn4iR8T9y2mzRhD1qlSQ"/>
</p:tagLst>
</file>

<file path=ppt/theme/theme1.xml><?xml version="1.0" encoding="utf-8"?>
<a:theme xmlns:a="http://schemas.openxmlformats.org/drawingml/2006/main" name="Hydro Theme">
  <a:themeElements>
    <a:clrScheme name="Hydro 2020 new palette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8A98A2"/>
      </a:accent2>
      <a:accent3>
        <a:srgbClr val="43807A"/>
      </a:accent3>
      <a:accent4>
        <a:srgbClr val="AF9E8B"/>
      </a:accent4>
      <a:accent5>
        <a:srgbClr val="784867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600" dirty="0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Hydro - Extended.potx" id="{BCC065BD-212F-484A-8D2B-99506D1F897B}" vid="{6DFF1E2E-835D-4855-B05D-4AB133C409C5}"/>
    </a:ext>
  </a:extLst>
</a:theme>
</file>

<file path=ppt/theme/theme2.xml><?xml version="1.0" encoding="utf-8"?>
<a:theme xmlns:a="http://schemas.openxmlformats.org/drawingml/2006/main" name="1_Hydro Theme">
  <a:themeElements>
    <a:clrScheme name="Hydro 2018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768692"/>
      </a:accent2>
      <a:accent3>
        <a:srgbClr val="43807A"/>
      </a:accent3>
      <a:accent4>
        <a:srgbClr val="C5B9AC"/>
      </a:accent4>
      <a:accent5>
        <a:srgbClr val="4A3041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 2018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Hydro 2018 template with content" id="{8401F904-BEAA-4602-B952-65968AFACB1A}" vid="{9E3A65F9-A881-4301-8A5F-CB2996BDE7CB}"/>
    </a:ext>
  </a:extLst>
</a:theme>
</file>

<file path=ppt/theme/theme3.xml><?xml version="1.0" encoding="utf-8"?>
<a:theme xmlns:a="http://schemas.openxmlformats.org/drawingml/2006/main" name="2_Hydro Theme">
  <a:themeElements>
    <a:clrScheme name="Hydro 2018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768692"/>
      </a:accent2>
      <a:accent3>
        <a:srgbClr val="43807A"/>
      </a:accent3>
      <a:accent4>
        <a:srgbClr val="C5B9AC"/>
      </a:accent4>
      <a:accent5>
        <a:srgbClr val="4A3041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 2018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Hydro 2018 template with content" id="{8401F904-BEAA-4602-B952-65968AFACB1A}" vid="{9E3A65F9-A881-4301-8A5F-CB2996BDE7CB}"/>
    </a:ext>
  </a:extLst>
</a:theme>
</file>

<file path=ppt/theme/theme4.xml><?xml version="1.0" encoding="utf-8"?>
<a:theme xmlns:a="http://schemas.openxmlformats.org/drawingml/2006/main" name="Office Theme">
  <a:themeElements>
    <a:clrScheme name="Hydro 2020 new palette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8A98A2"/>
      </a:accent2>
      <a:accent3>
        <a:srgbClr val="43807A"/>
      </a:accent3>
      <a:accent4>
        <a:srgbClr val="AF9E8B"/>
      </a:accent4>
      <a:accent5>
        <a:srgbClr val="784867"/>
      </a:accent5>
      <a:accent6>
        <a:srgbClr val="B95946"/>
      </a:accent6>
      <a:hlink>
        <a:srgbClr val="768692"/>
      </a:hlink>
      <a:folHlink>
        <a:srgbClr val="444D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Hydro 2020 new palette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8A98A2"/>
      </a:accent2>
      <a:accent3>
        <a:srgbClr val="43807A"/>
      </a:accent3>
      <a:accent4>
        <a:srgbClr val="AF9E8B"/>
      </a:accent4>
      <a:accent5>
        <a:srgbClr val="784867"/>
      </a:accent5>
      <a:accent6>
        <a:srgbClr val="B95946"/>
      </a:accent6>
      <a:hlink>
        <a:srgbClr val="768692"/>
      </a:hlink>
      <a:folHlink>
        <a:srgbClr val="444D5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09204B8A6A88948AAA45641ED015DA7" ma:contentTypeVersion="13" ma:contentTypeDescription="Opprett et nytt dokument." ma:contentTypeScope="" ma:versionID="07e6cb1edf97cade3e1a7de4f35271e6">
  <xsd:schema xmlns:xsd="http://www.w3.org/2001/XMLSchema" xmlns:xs="http://www.w3.org/2001/XMLSchema" xmlns:p="http://schemas.microsoft.com/office/2006/metadata/properties" xmlns:ns3="f74fb01c-0c82-4b89-9b38-b89c2583d7f1" xmlns:ns4="a148c89f-4419-420d-8b91-0d6ec461a9f7" targetNamespace="http://schemas.microsoft.com/office/2006/metadata/properties" ma:root="true" ma:fieldsID="09829c3235bfa6683e90cd5755b4318a" ns3:_="" ns4:_="">
    <xsd:import namespace="f74fb01c-0c82-4b89-9b38-b89c2583d7f1"/>
    <xsd:import namespace="a148c89f-4419-420d-8b91-0d6ec461a9f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4fb01c-0c82-4b89-9b38-b89c2583d7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ings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for deling av tips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48c89f-4419-420d-8b91-0d6ec461a9f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5CF771-FF94-4C76-95B6-462E6491B158}">
  <ds:schemaRefs>
    <ds:schemaRef ds:uri="http://purl.org/dc/dcmitype/"/>
    <ds:schemaRef ds:uri="http://purl.org/dc/terms/"/>
    <ds:schemaRef ds:uri="f74fb01c-0c82-4b89-9b38-b89c2583d7f1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a148c89f-4419-420d-8b91-0d6ec461a9f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EAB815C-D4EE-45AD-9D7F-041B062FF46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4fb01c-0c82-4b89-9b38-b89c2583d7f1"/>
    <ds:schemaRef ds:uri="a148c89f-4419-420d-8b91-0d6ec461a9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0624ADC-FED1-4AC5-99D9-162B7BABE18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957</Words>
  <Application>Microsoft Office PowerPoint</Application>
  <PresentationFormat>Egendefinert</PresentationFormat>
  <Paragraphs>202</Paragraphs>
  <Slides>16</Slides>
  <Notes>13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6</vt:i4>
      </vt:variant>
    </vt:vector>
  </HeadingPairs>
  <TitlesOfParts>
    <vt:vector size="27" baseType="lpstr">
      <vt:lpstr>Arial</vt:lpstr>
      <vt:lpstr>ＭＳ Ｐゴシック</vt:lpstr>
      <vt:lpstr>Times New Roman</vt:lpstr>
      <vt:lpstr>Wingdings</vt:lpstr>
      <vt:lpstr>Ivar Display Hydro</vt:lpstr>
      <vt:lpstr>Calibri</vt:lpstr>
      <vt:lpstr>Helvetica</vt:lpstr>
      <vt:lpstr>Hydro Theme</vt:lpstr>
      <vt:lpstr>1_Hydro Theme</vt:lpstr>
      <vt:lpstr>2_Hydro Theme</vt:lpstr>
      <vt:lpstr>think-cell Slide</vt:lpstr>
      <vt:lpstr>Med full fart inn i framtiden  Hydro inngår avtale om å selge Rolling </vt:lpstr>
      <vt:lpstr>Hydro Rolling – an overview* </vt:lpstr>
      <vt:lpstr>Hydro Rolling; De viktigste fabrikkene</vt:lpstr>
      <vt:lpstr>Historien</vt:lpstr>
      <vt:lpstr>PowerPoint-presentasjon</vt:lpstr>
      <vt:lpstr>Hydro inngår avtale om å selge valsevirksomheten Rolling til KPS Capital Partner for 1.380 millioner euro på basis av selskapsverdi. </vt:lpstr>
      <vt:lpstr>KPS Capital Partner kan vise til gode resultater i industriell virksomhet. </vt:lpstr>
      <vt:lpstr>Salget gjør at vi kan bygge et nytt aluminiumselskap innenfor valsevirksomhet og resirkulering</vt:lpstr>
      <vt:lpstr>PowerPoint-presentasjon</vt:lpstr>
      <vt:lpstr>PowerPoint-presentasjon</vt:lpstr>
      <vt:lpstr>Karmöy (Norway)</vt:lpstr>
      <vt:lpstr>Holmestrand (Norway)</vt:lpstr>
      <vt:lpstr>Hamburg (Germany)</vt:lpstr>
      <vt:lpstr>Rheinwerk, Neuss (Germany)</vt:lpstr>
      <vt:lpstr>AluNorf, Neuss (Germany)</vt:lpstr>
      <vt:lpstr>Grevenbroich (Germany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ith full speed into the future! Hydro enters agreement to sell Rolling</dc:title>
  <dc:creator>Moritz Rank</dc:creator>
  <cp:lastModifiedBy>Torstein Sagen</cp:lastModifiedBy>
  <cp:revision>4</cp:revision>
  <dcterms:created xsi:type="dcterms:W3CDTF">2021-03-04T08:36:06Z</dcterms:created>
  <dcterms:modified xsi:type="dcterms:W3CDTF">2021-04-12T14:28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09204B8A6A88948AAA45641ED015DA7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TemplateUrl">
    <vt:lpwstr/>
  </property>
  <property fmtid="{D5CDD505-2E9C-101B-9397-08002B2CF9AE}" pid="6" name="ComplianceAssetId">
    <vt:lpwstr/>
  </property>
</Properties>
</file>